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0" r:id="rId5"/>
    <p:sldMasterId id="2147483652" r:id="rId6"/>
    <p:sldMasterId id="2147483656" r:id="rId7"/>
  </p:sldMasterIdLst>
  <p:notesMasterIdLst>
    <p:notesMasterId r:id="rId38"/>
  </p:notesMasterIdLst>
  <p:sldIdLst>
    <p:sldId id="256" r:id="rId8"/>
    <p:sldId id="320" r:id="rId9"/>
    <p:sldId id="322" r:id="rId10"/>
    <p:sldId id="357" r:id="rId11"/>
    <p:sldId id="321" r:id="rId12"/>
    <p:sldId id="359" r:id="rId13"/>
    <p:sldId id="358" r:id="rId14"/>
    <p:sldId id="360" r:id="rId15"/>
    <p:sldId id="361" r:id="rId16"/>
    <p:sldId id="370" r:id="rId17"/>
    <p:sldId id="371" r:id="rId18"/>
    <p:sldId id="372" r:id="rId19"/>
    <p:sldId id="373" r:id="rId20"/>
    <p:sldId id="369" r:id="rId21"/>
    <p:sldId id="368" r:id="rId22"/>
    <p:sldId id="331" r:id="rId23"/>
    <p:sldId id="367" r:id="rId24"/>
    <p:sldId id="329" r:id="rId25"/>
    <p:sldId id="274" r:id="rId26"/>
    <p:sldId id="363" r:id="rId27"/>
    <p:sldId id="364" r:id="rId28"/>
    <p:sldId id="365" r:id="rId29"/>
    <p:sldId id="374" r:id="rId30"/>
    <p:sldId id="375" r:id="rId31"/>
    <p:sldId id="376" r:id="rId32"/>
    <p:sldId id="377" r:id="rId33"/>
    <p:sldId id="316" r:id="rId34"/>
    <p:sldId id="345" r:id="rId35"/>
    <p:sldId id="349" r:id="rId36"/>
    <p:sldId id="2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48D1B-A47A-B7C1-24D9-7127110DF0D0}" name="Guest User" initials="GU" userId="S::urn:spo:anon#5c1cd7b39cb30a75ca1cea0fb2ba435992d6c6a6b484349a9ca7505025227c67::" providerId="AD"/>
  <p188:author id="{F1E6144C-14BA-4EF9-61ED-859BA2598D84}" name="Frances Meek" initials="FM" userId="S::F.Meek@nutrition.org.uk::f3af35cc-3229-46e1-af36-3525661cfbd3" providerId="AD"/>
  <p188:author id="{9C36F668-A877-5A2A-966D-E15E134D61AF}" name="Jenny Elms" initials="JE" userId="6d86332cf0b2e80f" providerId="Windows Live"/>
  <p188:author id="{EC8C4E90-CF91-D356-6453-89C7340D26BA}" name="Ewen Trafford" initials="ET" userId="S::e.trafford@nutrition.org.uk::e520b4bf-a196-48b7-bc10-b1590a457daa" providerId="AD"/>
  <p188:author id="{7ECFBFCA-DD88-6422-7FAF-B5B8619DEB83}" name="Ewen Trafford" initials="EPT" userId="Ewen Traffor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 Meek" initials="FM" lastIdx="2" clrIdx="0">
    <p:extLst>
      <p:ext uri="{19B8F6BF-5375-455C-9EA6-DF929625EA0E}">
        <p15:presenceInfo xmlns:p15="http://schemas.microsoft.com/office/powerpoint/2012/main" userId="S::F.Meek@nutrition.org.uk::f3af35cc-3229-46e1-af36-3525661cf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3C2"/>
    <a:srgbClr val="EF9F3F"/>
    <a:srgbClr val="F9D4B6"/>
    <a:srgbClr val="EDAD80"/>
    <a:srgbClr val="E46B2F"/>
    <a:srgbClr val="ED6B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B0E8C2-FB3B-4470-B3CB-8E0AE6FA05AA}" v="18" dt="2022-12-07T14:23:01.2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564" autoAdjust="0"/>
  </p:normalViewPr>
  <p:slideViewPr>
    <p:cSldViewPr snapToGrid="0">
      <p:cViewPr varScale="1">
        <p:scale>
          <a:sx n="107" d="100"/>
          <a:sy n="107" d="100"/>
        </p:scale>
        <p:origin x="612"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wen Trafford" userId="e520b4bf-a196-48b7-bc10-b1590a457daa" providerId="ADAL" clId="{4BB0E8C2-FB3B-4470-B3CB-8E0AE6FA05AA}"/>
    <pc:docChg chg="undo custSel addSld delSld modSld">
      <pc:chgData name="Ewen Trafford" userId="e520b4bf-a196-48b7-bc10-b1590a457daa" providerId="ADAL" clId="{4BB0E8C2-FB3B-4470-B3CB-8E0AE6FA05AA}" dt="2022-12-07T14:23:34.293" v="615" actId="20577"/>
      <pc:docMkLst>
        <pc:docMk/>
      </pc:docMkLst>
      <pc:sldChg chg="modSp mod delCm">
        <pc:chgData name="Ewen Trafford" userId="e520b4bf-a196-48b7-bc10-b1590a457daa" providerId="ADAL" clId="{4BB0E8C2-FB3B-4470-B3CB-8E0AE6FA05AA}" dt="2022-12-07T14:20:28.882" v="504"/>
        <pc:sldMkLst>
          <pc:docMk/>
          <pc:sldMk cId="2302005153" sldId="261"/>
        </pc:sldMkLst>
        <pc:spChg chg="mod">
          <ac:chgData name="Ewen Trafford" userId="e520b4bf-a196-48b7-bc10-b1590a457daa" providerId="ADAL" clId="{4BB0E8C2-FB3B-4470-B3CB-8E0AE6FA05AA}" dt="2022-12-07T14:20:26.003" v="503" actId="20577"/>
          <ac:spMkLst>
            <pc:docMk/>
            <pc:sldMk cId="2302005153" sldId="261"/>
            <ac:spMk id="3" creationId="{00000000-0000-0000-0000-000000000000}"/>
          </ac:spMkLst>
        </pc:spChg>
      </pc:sldChg>
      <pc:sldChg chg="modSp mod delCm modCm">
        <pc:chgData name="Ewen Trafford" userId="e520b4bf-a196-48b7-bc10-b1590a457daa" providerId="ADAL" clId="{4BB0E8C2-FB3B-4470-B3CB-8E0AE6FA05AA}" dt="2022-12-07T14:08:57.448" v="238"/>
        <pc:sldMkLst>
          <pc:docMk/>
          <pc:sldMk cId="3594171061" sldId="331"/>
        </pc:sldMkLst>
        <pc:graphicFrameChg chg="modGraphic">
          <ac:chgData name="Ewen Trafford" userId="e520b4bf-a196-48b7-bc10-b1590a457daa" providerId="ADAL" clId="{4BB0E8C2-FB3B-4470-B3CB-8E0AE6FA05AA}" dt="2022-12-07T14:08:55.067" v="237" actId="20577"/>
          <ac:graphicFrameMkLst>
            <pc:docMk/>
            <pc:sldMk cId="3594171061" sldId="331"/>
            <ac:graphicFrameMk id="4" creationId="{852C40F4-3A0C-2C57-5C1A-53EF072895F3}"/>
          </ac:graphicFrameMkLst>
        </pc:graphicFrameChg>
      </pc:sldChg>
      <pc:sldChg chg="modSp mod delCm">
        <pc:chgData name="Ewen Trafford" userId="e520b4bf-a196-48b7-bc10-b1590a457daa" providerId="ADAL" clId="{4BB0E8C2-FB3B-4470-B3CB-8E0AE6FA05AA}" dt="2022-12-07T14:22:28.893" v="589" actId="20577"/>
        <pc:sldMkLst>
          <pc:docMk/>
          <pc:sldMk cId="2216651741" sldId="349"/>
        </pc:sldMkLst>
        <pc:spChg chg="mod">
          <ac:chgData name="Ewen Trafford" userId="e520b4bf-a196-48b7-bc10-b1590a457daa" providerId="ADAL" clId="{4BB0E8C2-FB3B-4470-B3CB-8E0AE6FA05AA}" dt="2022-12-07T14:20:32.964" v="506" actId="20577"/>
          <ac:spMkLst>
            <pc:docMk/>
            <pc:sldMk cId="2216651741" sldId="349"/>
            <ac:spMk id="3" creationId="{2B2F653F-C430-F503-517E-CDF8E13CD0EC}"/>
          </ac:spMkLst>
        </pc:spChg>
        <pc:spChg chg="mod">
          <ac:chgData name="Ewen Trafford" userId="e520b4bf-a196-48b7-bc10-b1590a457daa" providerId="ADAL" clId="{4BB0E8C2-FB3B-4470-B3CB-8E0AE6FA05AA}" dt="2022-12-07T14:22:28.893" v="589" actId="20577"/>
          <ac:spMkLst>
            <pc:docMk/>
            <pc:sldMk cId="2216651741" sldId="349"/>
            <ac:spMk id="4" creationId="{D3445774-6C54-7EEC-6FDC-A10B90AAB57C}"/>
          </ac:spMkLst>
        </pc:spChg>
        <pc:spChg chg="mod">
          <ac:chgData name="Ewen Trafford" userId="e520b4bf-a196-48b7-bc10-b1590a457daa" providerId="ADAL" clId="{4BB0E8C2-FB3B-4470-B3CB-8E0AE6FA05AA}" dt="2022-12-07T14:20:38.229" v="507" actId="1076"/>
          <ac:spMkLst>
            <pc:docMk/>
            <pc:sldMk cId="2216651741" sldId="349"/>
            <ac:spMk id="5" creationId="{3D970188-9AE1-BE51-687C-3319645C551C}"/>
          </ac:spMkLst>
        </pc:spChg>
      </pc:sldChg>
      <pc:sldChg chg="modSp mod delCm modCm">
        <pc:chgData name="Ewen Trafford" userId="e520b4bf-a196-48b7-bc10-b1590a457daa" providerId="ADAL" clId="{4BB0E8C2-FB3B-4470-B3CB-8E0AE6FA05AA}" dt="2022-12-07T13:32:41.672" v="12"/>
        <pc:sldMkLst>
          <pc:docMk/>
          <pc:sldMk cId="4243285889" sldId="358"/>
        </pc:sldMkLst>
        <pc:spChg chg="mod">
          <ac:chgData name="Ewen Trafford" userId="e520b4bf-a196-48b7-bc10-b1590a457daa" providerId="ADAL" clId="{4BB0E8C2-FB3B-4470-B3CB-8E0AE6FA05AA}" dt="2022-12-07T13:32:38.971" v="11" actId="20577"/>
          <ac:spMkLst>
            <pc:docMk/>
            <pc:sldMk cId="4243285889" sldId="358"/>
            <ac:spMk id="3" creationId="{C922ACA1-27C4-193C-66AA-F3C7038A04A3}"/>
          </ac:spMkLst>
        </pc:spChg>
      </pc:sldChg>
      <pc:sldChg chg="modSp mod delCm">
        <pc:chgData name="Ewen Trafford" userId="e520b4bf-a196-48b7-bc10-b1590a457daa" providerId="ADAL" clId="{4BB0E8C2-FB3B-4470-B3CB-8E0AE6FA05AA}" dt="2022-12-07T13:32:17.522" v="10" actId="20577"/>
        <pc:sldMkLst>
          <pc:docMk/>
          <pc:sldMk cId="1429771612" sldId="359"/>
        </pc:sldMkLst>
        <pc:spChg chg="mod">
          <ac:chgData name="Ewen Trafford" userId="e520b4bf-a196-48b7-bc10-b1590a457daa" providerId="ADAL" clId="{4BB0E8C2-FB3B-4470-B3CB-8E0AE6FA05AA}" dt="2022-12-07T13:32:17.522" v="10" actId="20577"/>
          <ac:spMkLst>
            <pc:docMk/>
            <pc:sldMk cId="1429771612" sldId="359"/>
            <ac:spMk id="3" creationId="{BF873EDB-931B-29CD-393B-288BD2C07FB8}"/>
          </ac:spMkLst>
        </pc:spChg>
      </pc:sldChg>
      <pc:sldChg chg="modSp mod delCm modCm">
        <pc:chgData name="Ewen Trafford" userId="e520b4bf-a196-48b7-bc10-b1590a457daa" providerId="ADAL" clId="{4BB0E8C2-FB3B-4470-B3CB-8E0AE6FA05AA}" dt="2022-12-07T13:43:38.313" v="17" actId="20577"/>
        <pc:sldMkLst>
          <pc:docMk/>
          <pc:sldMk cId="784807198" sldId="360"/>
        </pc:sldMkLst>
        <pc:spChg chg="mod">
          <ac:chgData name="Ewen Trafford" userId="e520b4bf-a196-48b7-bc10-b1590a457daa" providerId="ADAL" clId="{4BB0E8C2-FB3B-4470-B3CB-8E0AE6FA05AA}" dt="2022-12-07T13:43:38.313" v="17" actId="20577"/>
          <ac:spMkLst>
            <pc:docMk/>
            <pc:sldMk cId="784807198" sldId="360"/>
            <ac:spMk id="3" creationId="{6602F20C-0E64-8D95-473B-01C0F69999B0}"/>
          </ac:spMkLst>
        </pc:spChg>
      </pc:sldChg>
      <pc:sldChg chg="modSp add del mod delCm">
        <pc:chgData name="Ewen Trafford" userId="e520b4bf-a196-48b7-bc10-b1590a457daa" providerId="ADAL" clId="{4BB0E8C2-FB3B-4470-B3CB-8E0AE6FA05AA}" dt="2022-12-07T14:12:57.059" v="341" actId="47"/>
        <pc:sldMkLst>
          <pc:docMk/>
          <pc:sldMk cId="1559760123" sldId="362"/>
        </pc:sldMkLst>
        <pc:spChg chg="mod">
          <ac:chgData name="Ewen Trafford" userId="e520b4bf-a196-48b7-bc10-b1590a457daa" providerId="ADAL" clId="{4BB0E8C2-FB3B-4470-B3CB-8E0AE6FA05AA}" dt="2022-12-07T14:07:13.633" v="88" actId="20577"/>
          <ac:spMkLst>
            <pc:docMk/>
            <pc:sldMk cId="1559760123" sldId="362"/>
            <ac:spMk id="3" creationId="{C5155838-FA10-23A4-D2AB-128F173436D0}"/>
          </ac:spMkLst>
        </pc:spChg>
      </pc:sldChg>
      <pc:sldChg chg="delCm">
        <pc:chgData name="Ewen Trafford" userId="e520b4bf-a196-48b7-bc10-b1590a457daa" providerId="ADAL" clId="{4BB0E8C2-FB3B-4470-B3CB-8E0AE6FA05AA}" dt="2022-12-07T14:10:14.728" v="249"/>
        <pc:sldMkLst>
          <pc:docMk/>
          <pc:sldMk cId="4129383999" sldId="365"/>
        </pc:sldMkLst>
      </pc:sldChg>
      <pc:sldChg chg="add del">
        <pc:chgData name="Ewen Trafford" userId="e520b4bf-a196-48b7-bc10-b1590a457daa" providerId="ADAL" clId="{4BB0E8C2-FB3B-4470-B3CB-8E0AE6FA05AA}" dt="2022-12-07T14:19:01.533" v="487" actId="47"/>
        <pc:sldMkLst>
          <pc:docMk/>
          <pc:sldMk cId="1446335801" sldId="366"/>
        </pc:sldMkLst>
      </pc:sldChg>
      <pc:sldChg chg="modSp mod delCm modCm">
        <pc:chgData name="Ewen Trafford" userId="e520b4bf-a196-48b7-bc10-b1590a457daa" providerId="ADAL" clId="{4BB0E8C2-FB3B-4470-B3CB-8E0AE6FA05AA}" dt="2022-12-07T14:09:31.829" v="246"/>
        <pc:sldMkLst>
          <pc:docMk/>
          <pc:sldMk cId="1979304561" sldId="367"/>
        </pc:sldMkLst>
        <pc:graphicFrameChg chg="modGraphic">
          <ac:chgData name="Ewen Trafford" userId="e520b4bf-a196-48b7-bc10-b1590a457daa" providerId="ADAL" clId="{4BB0E8C2-FB3B-4470-B3CB-8E0AE6FA05AA}" dt="2022-12-07T14:09:27.468" v="245" actId="20577"/>
          <ac:graphicFrameMkLst>
            <pc:docMk/>
            <pc:sldMk cId="1979304561" sldId="367"/>
            <ac:graphicFrameMk id="4" creationId="{852C40F4-3A0C-2C57-5C1A-53EF072895F3}"/>
          </ac:graphicFrameMkLst>
        </pc:graphicFrameChg>
      </pc:sldChg>
      <pc:sldChg chg="add delCm">
        <pc:chgData name="Ewen Trafford" userId="e520b4bf-a196-48b7-bc10-b1590a457daa" providerId="ADAL" clId="{4BB0E8C2-FB3B-4470-B3CB-8E0AE6FA05AA}" dt="2022-12-07T14:10:11.307" v="248"/>
        <pc:sldMkLst>
          <pc:docMk/>
          <pc:sldMk cId="3823105340" sldId="369"/>
        </pc:sldMkLst>
      </pc:sldChg>
      <pc:sldChg chg="modSp add mod delCm modCm modNotesTx">
        <pc:chgData name="Ewen Trafford" userId="e520b4bf-a196-48b7-bc10-b1590a457daa" providerId="ADAL" clId="{4BB0E8C2-FB3B-4470-B3CB-8E0AE6FA05AA}" dt="2022-12-07T14:23:26.929" v="600" actId="20577"/>
        <pc:sldMkLst>
          <pc:docMk/>
          <pc:sldMk cId="414895234" sldId="370"/>
        </pc:sldMkLst>
        <pc:spChg chg="mod">
          <ac:chgData name="Ewen Trafford" userId="e520b4bf-a196-48b7-bc10-b1590a457daa" providerId="ADAL" clId="{4BB0E8C2-FB3B-4470-B3CB-8E0AE6FA05AA}" dt="2022-12-07T14:13:57.822" v="350" actId="20577"/>
          <ac:spMkLst>
            <pc:docMk/>
            <pc:sldMk cId="414895234" sldId="370"/>
            <ac:spMk id="2" creationId="{5E92EA55-F278-4CD6-76C9-B3B0388053F6}"/>
          </ac:spMkLst>
        </pc:spChg>
        <pc:spChg chg="mod">
          <ac:chgData name="Ewen Trafford" userId="e520b4bf-a196-48b7-bc10-b1590a457daa" providerId="ADAL" clId="{4BB0E8C2-FB3B-4470-B3CB-8E0AE6FA05AA}" dt="2022-12-07T14:23:26.929" v="600" actId="20577"/>
          <ac:spMkLst>
            <pc:docMk/>
            <pc:sldMk cId="414895234" sldId="370"/>
            <ac:spMk id="3" creationId="{C5155838-FA10-23A4-D2AB-128F173436D0}"/>
          </ac:spMkLst>
        </pc:spChg>
        <pc:picChg chg="mod">
          <ac:chgData name="Ewen Trafford" userId="e520b4bf-a196-48b7-bc10-b1590a457daa" providerId="ADAL" clId="{4BB0E8C2-FB3B-4470-B3CB-8E0AE6FA05AA}" dt="2022-12-07T14:15:17.639" v="402" actId="1076"/>
          <ac:picMkLst>
            <pc:docMk/>
            <pc:sldMk cId="414895234" sldId="370"/>
            <ac:picMk id="5" creationId="{41FCB276-0605-8F2C-8ED9-C501B04CD34E}"/>
          </ac:picMkLst>
        </pc:picChg>
      </pc:sldChg>
      <pc:sldChg chg="addSp delSp modSp add mod modAnim modNotesTx">
        <pc:chgData name="Ewen Trafford" userId="e520b4bf-a196-48b7-bc10-b1590a457daa" providerId="ADAL" clId="{4BB0E8C2-FB3B-4470-B3CB-8E0AE6FA05AA}" dt="2022-12-07T14:19:23.604" v="490"/>
        <pc:sldMkLst>
          <pc:docMk/>
          <pc:sldMk cId="1083455699" sldId="371"/>
        </pc:sldMkLst>
        <pc:spChg chg="mod">
          <ac:chgData name="Ewen Trafford" userId="e520b4bf-a196-48b7-bc10-b1590a457daa" providerId="ADAL" clId="{4BB0E8C2-FB3B-4470-B3CB-8E0AE6FA05AA}" dt="2022-12-07T14:18:22.190" v="474" actId="20577"/>
          <ac:spMkLst>
            <pc:docMk/>
            <pc:sldMk cId="1083455699" sldId="371"/>
            <ac:spMk id="2" creationId="{5E92EA55-F278-4CD6-76C9-B3B0388053F6}"/>
          </ac:spMkLst>
        </pc:spChg>
        <pc:spChg chg="mod">
          <ac:chgData name="Ewen Trafford" userId="e520b4bf-a196-48b7-bc10-b1590a457daa" providerId="ADAL" clId="{4BB0E8C2-FB3B-4470-B3CB-8E0AE6FA05AA}" dt="2022-12-07T14:18:17.100" v="471" actId="113"/>
          <ac:spMkLst>
            <pc:docMk/>
            <pc:sldMk cId="1083455699" sldId="371"/>
            <ac:spMk id="3" creationId="{C5155838-FA10-23A4-D2AB-128F173436D0}"/>
          </ac:spMkLst>
        </pc:spChg>
        <pc:spChg chg="add mod">
          <ac:chgData name="Ewen Trafford" userId="e520b4bf-a196-48b7-bc10-b1590a457daa" providerId="ADAL" clId="{4BB0E8C2-FB3B-4470-B3CB-8E0AE6FA05AA}" dt="2022-12-07T14:18:10.749" v="469" actId="1076"/>
          <ac:spMkLst>
            <pc:docMk/>
            <pc:sldMk cId="1083455699" sldId="371"/>
            <ac:spMk id="4" creationId="{4A3023DE-ADB7-B949-59A6-4C7C4D2AA727}"/>
          </ac:spMkLst>
        </pc:spChg>
        <pc:picChg chg="del">
          <ac:chgData name="Ewen Trafford" userId="e520b4bf-a196-48b7-bc10-b1590a457daa" providerId="ADAL" clId="{4BB0E8C2-FB3B-4470-B3CB-8E0AE6FA05AA}" dt="2022-12-07T14:16:03.846" v="416" actId="478"/>
          <ac:picMkLst>
            <pc:docMk/>
            <pc:sldMk cId="1083455699" sldId="371"/>
            <ac:picMk id="5" creationId="{41FCB276-0605-8F2C-8ED9-C501B04CD34E}"/>
          </ac:picMkLst>
        </pc:picChg>
      </pc:sldChg>
      <pc:sldChg chg="addSp delSp modSp add mod modAnim modNotesTx">
        <pc:chgData name="Ewen Trafford" userId="e520b4bf-a196-48b7-bc10-b1590a457daa" providerId="ADAL" clId="{4BB0E8C2-FB3B-4470-B3CB-8E0AE6FA05AA}" dt="2022-12-07T14:19:10.454" v="488"/>
        <pc:sldMkLst>
          <pc:docMk/>
          <pc:sldMk cId="2085712672" sldId="372"/>
        </pc:sldMkLst>
        <pc:spChg chg="mod">
          <ac:chgData name="Ewen Trafford" userId="e520b4bf-a196-48b7-bc10-b1590a457daa" providerId="ADAL" clId="{4BB0E8C2-FB3B-4470-B3CB-8E0AE6FA05AA}" dt="2022-12-07T14:18:26.502" v="479" actId="20577"/>
          <ac:spMkLst>
            <pc:docMk/>
            <pc:sldMk cId="2085712672" sldId="372"/>
            <ac:spMk id="2" creationId="{5E92EA55-F278-4CD6-76C9-B3B0388053F6}"/>
          </ac:spMkLst>
        </pc:spChg>
        <pc:spChg chg="mod">
          <ac:chgData name="Ewen Trafford" userId="e520b4bf-a196-48b7-bc10-b1590a457daa" providerId="ADAL" clId="{4BB0E8C2-FB3B-4470-B3CB-8E0AE6FA05AA}" dt="2022-12-07T14:17:12.247" v="435" actId="14100"/>
          <ac:spMkLst>
            <pc:docMk/>
            <pc:sldMk cId="2085712672" sldId="372"/>
            <ac:spMk id="3" creationId="{C5155838-FA10-23A4-D2AB-128F173436D0}"/>
          </ac:spMkLst>
        </pc:spChg>
        <pc:spChg chg="add mod">
          <ac:chgData name="Ewen Trafford" userId="e520b4bf-a196-48b7-bc10-b1590a457daa" providerId="ADAL" clId="{4BB0E8C2-FB3B-4470-B3CB-8E0AE6FA05AA}" dt="2022-12-07T14:17:47.521" v="454" actId="1076"/>
          <ac:spMkLst>
            <pc:docMk/>
            <pc:sldMk cId="2085712672" sldId="372"/>
            <ac:spMk id="4" creationId="{8DDD7D79-BD9E-F93F-CC29-250834ED48A8}"/>
          </ac:spMkLst>
        </pc:spChg>
        <pc:picChg chg="del">
          <ac:chgData name="Ewen Trafford" userId="e520b4bf-a196-48b7-bc10-b1590a457daa" providerId="ADAL" clId="{4BB0E8C2-FB3B-4470-B3CB-8E0AE6FA05AA}" dt="2022-12-07T14:16:02.679" v="415" actId="478"/>
          <ac:picMkLst>
            <pc:docMk/>
            <pc:sldMk cId="2085712672" sldId="372"/>
            <ac:picMk id="5" creationId="{41FCB276-0605-8F2C-8ED9-C501B04CD34E}"/>
          </ac:picMkLst>
        </pc:picChg>
      </pc:sldChg>
      <pc:sldChg chg="addSp delSp modSp add mod modAnim modNotesTx">
        <pc:chgData name="Ewen Trafford" userId="e520b4bf-a196-48b7-bc10-b1590a457daa" providerId="ADAL" clId="{4BB0E8C2-FB3B-4470-B3CB-8E0AE6FA05AA}" dt="2022-12-07T14:19:19.015" v="489"/>
        <pc:sldMkLst>
          <pc:docMk/>
          <pc:sldMk cId="3741374364" sldId="373"/>
        </pc:sldMkLst>
        <pc:spChg chg="mod">
          <ac:chgData name="Ewen Trafford" userId="e520b4bf-a196-48b7-bc10-b1590a457daa" providerId="ADAL" clId="{4BB0E8C2-FB3B-4470-B3CB-8E0AE6FA05AA}" dt="2022-12-07T14:16:25.694" v="420" actId="14100"/>
          <ac:spMkLst>
            <pc:docMk/>
            <pc:sldMk cId="3741374364" sldId="373"/>
            <ac:spMk id="3" creationId="{C5155838-FA10-23A4-D2AB-128F173436D0}"/>
          </ac:spMkLst>
        </pc:spChg>
        <pc:spChg chg="add mod">
          <ac:chgData name="Ewen Trafford" userId="e520b4bf-a196-48b7-bc10-b1590a457daa" providerId="ADAL" clId="{4BB0E8C2-FB3B-4470-B3CB-8E0AE6FA05AA}" dt="2022-12-07T14:16:55.760" v="433" actId="20577"/>
          <ac:spMkLst>
            <pc:docMk/>
            <pc:sldMk cId="3741374364" sldId="373"/>
            <ac:spMk id="4" creationId="{CA763E49-A043-D551-3057-046480EC4115}"/>
          </ac:spMkLst>
        </pc:spChg>
        <pc:picChg chg="del">
          <ac:chgData name="Ewen Trafford" userId="e520b4bf-a196-48b7-bc10-b1590a457daa" providerId="ADAL" clId="{4BB0E8C2-FB3B-4470-B3CB-8E0AE6FA05AA}" dt="2022-12-07T14:16:00.946" v="414" actId="478"/>
          <ac:picMkLst>
            <pc:docMk/>
            <pc:sldMk cId="3741374364" sldId="373"/>
            <ac:picMk id="5" creationId="{41FCB276-0605-8F2C-8ED9-C501B04CD34E}"/>
          </ac:picMkLst>
        </pc:picChg>
      </pc:sldChg>
      <pc:sldChg chg="add del">
        <pc:chgData name="Ewen Trafford" userId="e520b4bf-a196-48b7-bc10-b1590a457daa" providerId="ADAL" clId="{4BB0E8C2-FB3B-4470-B3CB-8E0AE6FA05AA}" dt="2022-12-07T14:18:59.833" v="486"/>
        <pc:sldMkLst>
          <pc:docMk/>
          <pc:sldMk cId="732086962" sldId="374"/>
        </pc:sldMkLst>
      </pc:sldChg>
      <pc:sldChg chg="modSp add mod">
        <pc:chgData name="Ewen Trafford" userId="e520b4bf-a196-48b7-bc10-b1590a457daa" providerId="ADAL" clId="{4BB0E8C2-FB3B-4470-B3CB-8E0AE6FA05AA}" dt="2022-12-07T14:23:34.293" v="615" actId="20577"/>
        <pc:sldMkLst>
          <pc:docMk/>
          <pc:sldMk cId="4215964279" sldId="374"/>
        </pc:sldMkLst>
        <pc:spChg chg="mod">
          <ac:chgData name="Ewen Trafford" userId="e520b4bf-a196-48b7-bc10-b1590a457daa" providerId="ADAL" clId="{4BB0E8C2-FB3B-4470-B3CB-8E0AE6FA05AA}" dt="2022-12-07T14:23:34.293" v="615" actId="20577"/>
          <ac:spMkLst>
            <pc:docMk/>
            <pc:sldMk cId="4215964279" sldId="374"/>
            <ac:spMk id="3" creationId="{C5155838-FA10-23A4-D2AB-128F173436D0}"/>
          </ac:spMkLst>
        </pc:spChg>
      </pc:sldChg>
      <pc:sldChg chg="add">
        <pc:chgData name="Ewen Trafford" userId="e520b4bf-a196-48b7-bc10-b1590a457daa" providerId="ADAL" clId="{4BB0E8C2-FB3B-4470-B3CB-8E0AE6FA05AA}" dt="2022-12-07T14:19:32.193" v="491"/>
        <pc:sldMkLst>
          <pc:docMk/>
          <pc:sldMk cId="213392992" sldId="375"/>
        </pc:sldMkLst>
      </pc:sldChg>
      <pc:sldChg chg="add del">
        <pc:chgData name="Ewen Trafford" userId="e520b4bf-a196-48b7-bc10-b1590a457daa" providerId="ADAL" clId="{4BB0E8C2-FB3B-4470-B3CB-8E0AE6FA05AA}" dt="2022-12-07T14:18:59.833" v="486"/>
        <pc:sldMkLst>
          <pc:docMk/>
          <pc:sldMk cId="1967947015" sldId="375"/>
        </pc:sldMkLst>
      </pc:sldChg>
      <pc:sldChg chg="add">
        <pc:chgData name="Ewen Trafford" userId="e520b4bf-a196-48b7-bc10-b1590a457daa" providerId="ADAL" clId="{4BB0E8C2-FB3B-4470-B3CB-8E0AE6FA05AA}" dt="2022-12-07T14:19:32.193" v="491"/>
        <pc:sldMkLst>
          <pc:docMk/>
          <pc:sldMk cId="406621213" sldId="376"/>
        </pc:sldMkLst>
      </pc:sldChg>
      <pc:sldChg chg="add del">
        <pc:chgData name="Ewen Trafford" userId="e520b4bf-a196-48b7-bc10-b1590a457daa" providerId="ADAL" clId="{4BB0E8C2-FB3B-4470-B3CB-8E0AE6FA05AA}" dt="2022-12-07T14:18:59.833" v="486"/>
        <pc:sldMkLst>
          <pc:docMk/>
          <pc:sldMk cId="1925666330" sldId="376"/>
        </pc:sldMkLst>
      </pc:sldChg>
      <pc:sldChg chg="add">
        <pc:chgData name="Ewen Trafford" userId="e520b4bf-a196-48b7-bc10-b1590a457daa" providerId="ADAL" clId="{4BB0E8C2-FB3B-4470-B3CB-8E0AE6FA05AA}" dt="2022-12-07T14:19:32.193" v="491"/>
        <pc:sldMkLst>
          <pc:docMk/>
          <pc:sldMk cId="41657179" sldId="377"/>
        </pc:sldMkLst>
      </pc:sldChg>
      <pc:sldChg chg="add del">
        <pc:chgData name="Ewen Trafford" userId="e520b4bf-a196-48b7-bc10-b1590a457daa" providerId="ADAL" clId="{4BB0E8C2-FB3B-4470-B3CB-8E0AE6FA05AA}" dt="2022-12-07T14:18:59.833" v="486"/>
        <pc:sldMkLst>
          <pc:docMk/>
          <pc:sldMk cId="2590807832" sldId="377"/>
        </pc:sldMkLst>
      </pc:sldChg>
    </pc:docChg>
  </pc:docChgLst>
  <pc:docChgLst>
    <pc:chgData name="Frances Meek" userId="f3af35cc-3229-46e1-af36-3525661cfbd3" providerId="ADAL" clId="{5D53F668-3109-484A-A0D7-0B1C49FB06C3}"/>
    <pc:docChg chg="custSel addSld modSld">
      <pc:chgData name="Frances Meek" userId="f3af35cc-3229-46e1-af36-3525661cfbd3" providerId="ADAL" clId="{5D53F668-3109-484A-A0D7-0B1C49FB06C3}" dt="2022-10-31T13:38:56.199" v="121" actId="20577"/>
      <pc:docMkLst>
        <pc:docMk/>
      </pc:docMkLst>
      <pc:sldChg chg="modSp mod">
        <pc:chgData name="Frances Meek" userId="f3af35cc-3229-46e1-af36-3525661cfbd3" providerId="ADAL" clId="{5D53F668-3109-484A-A0D7-0B1C49FB06C3}" dt="2022-10-31T13:38:56.199" v="121" actId="20577"/>
        <pc:sldMkLst>
          <pc:docMk/>
          <pc:sldMk cId="1044731279" sldId="350"/>
        </pc:sldMkLst>
        <pc:spChg chg="mod">
          <ac:chgData name="Frances Meek" userId="f3af35cc-3229-46e1-af36-3525661cfbd3" providerId="ADAL" clId="{5D53F668-3109-484A-A0D7-0B1C49FB06C3}" dt="2022-10-31T13:38:56.199" v="121" actId="20577"/>
          <ac:spMkLst>
            <pc:docMk/>
            <pc:sldMk cId="1044731279" sldId="350"/>
            <ac:spMk id="3" creationId="{3F4AB2AE-64C7-4EAD-7377-33BA885C3FC6}"/>
          </ac:spMkLst>
        </pc:spChg>
      </pc:sldChg>
      <pc:sldChg chg="modSp new mod">
        <pc:chgData name="Frances Meek" userId="f3af35cc-3229-46e1-af36-3525661cfbd3" providerId="ADAL" clId="{5D53F668-3109-484A-A0D7-0B1C49FB06C3}" dt="2022-10-31T13:35:21.257" v="62" actId="20577"/>
        <pc:sldMkLst>
          <pc:docMk/>
          <pc:sldMk cId="3869903968" sldId="368"/>
        </pc:sldMkLst>
        <pc:spChg chg="mod">
          <ac:chgData name="Frances Meek" userId="f3af35cc-3229-46e1-af36-3525661cfbd3" providerId="ADAL" clId="{5D53F668-3109-484A-A0D7-0B1C49FB06C3}" dt="2022-10-31T13:35:09.898" v="20" actId="20577"/>
          <ac:spMkLst>
            <pc:docMk/>
            <pc:sldMk cId="3869903968" sldId="368"/>
            <ac:spMk id="2" creationId="{E2F9500F-9918-FB99-3144-BD9723173B71}"/>
          </ac:spMkLst>
        </pc:spChg>
        <pc:spChg chg="mod">
          <ac:chgData name="Frances Meek" userId="f3af35cc-3229-46e1-af36-3525661cfbd3" providerId="ADAL" clId="{5D53F668-3109-484A-A0D7-0B1C49FB06C3}" dt="2022-10-31T13:35:21.257" v="62" actId="20577"/>
          <ac:spMkLst>
            <pc:docMk/>
            <pc:sldMk cId="3869903968" sldId="368"/>
            <ac:spMk id="3" creationId="{51A1CE46-A353-88D0-6CE3-615D83403C23}"/>
          </ac:spMkLst>
        </pc:spChg>
      </pc:sldChg>
    </pc:docChg>
  </pc:docChgLst>
  <pc:docChgLst>
    <pc:chgData name="Frances Meek" userId="f3af35cc-3229-46e1-af36-3525661cfbd3" providerId="ADAL" clId="{A914B1F7-B09D-4400-97B6-43196F5F505A}"/>
    <pc:docChg chg="custSel modSld">
      <pc:chgData name="Frances Meek" userId="f3af35cc-3229-46e1-af36-3525661cfbd3" providerId="ADAL" clId="{A914B1F7-B09D-4400-97B6-43196F5F505A}" dt="2022-12-02T18:41:28.340" v="33"/>
      <pc:docMkLst>
        <pc:docMk/>
      </pc:docMkLst>
      <pc:sldChg chg="addCm">
        <pc:chgData name="Frances Meek" userId="f3af35cc-3229-46e1-af36-3525661cfbd3" providerId="ADAL" clId="{A914B1F7-B09D-4400-97B6-43196F5F505A}" dt="2022-12-02T18:40:13.700" v="31"/>
        <pc:sldMkLst>
          <pc:docMk/>
          <pc:sldMk cId="2302005153" sldId="261"/>
        </pc:sldMkLst>
      </pc:sldChg>
      <pc:sldChg chg="modSp mod">
        <pc:chgData name="Frances Meek" userId="f3af35cc-3229-46e1-af36-3525661cfbd3" providerId="ADAL" clId="{A914B1F7-B09D-4400-97B6-43196F5F505A}" dt="2022-12-02T18:36:15.363" v="26" actId="20577"/>
        <pc:sldMkLst>
          <pc:docMk/>
          <pc:sldMk cId="3993973292" sldId="274"/>
        </pc:sldMkLst>
        <pc:spChg chg="mod">
          <ac:chgData name="Frances Meek" userId="f3af35cc-3229-46e1-af36-3525661cfbd3" providerId="ADAL" clId="{A914B1F7-B09D-4400-97B6-43196F5F505A}" dt="2022-12-02T18:36:15.363" v="26" actId="20577"/>
          <ac:spMkLst>
            <pc:docMk/>
            <pc:sldMk cId="3993973292" sldId="274"/>
            <ac:spMk id="3" creationId="{00000000-0000-0000-0000-000000000000}"/>
          </ac:spMkLst>
        </pc:spChg>
        <pc:spChg chg="mod">
          <ac:chgData name="Frances Meek" userId="f3af35cc-3229-46e1-af36-3525661cfbd3" providerId="ADAL" clId="{A914B1F7-B09D-4400-97B6-43196F5F505A}" dt="2022-12-02T18:36:11.954" v="25" actId="20577"/>
          <ac:spMkLst>
            <pc:docMk/>
            <pc:sldMk cId="3993973292" sldId="274"/>
            <ac:spMk id="6" creationId="{A705A842-B67A-1091-B43C-016955CEB56E}"/>
          </ac:spMkLst>
        </pc:spChg>
      </pc:sldChg>
      <pc:sldChg chg="modSp mod">
        <pc:chgData name="Frances Meek" userId="f3af35cc-3229-46e1-af36-3525661cfbd3" providerId="ADAL" clId="{A914B1F7-B09D-4400-97B6-43196F5F505A}" dt="2022-12-02T18:35:59.904" v="20" actId="313"/>
        <pc:sldMkLst>
          <pc:docMk/>
          <pc:sldMk cId="482496951" sldId="329"/>
        </pc:sldMkLst>
        <pc:spChg chg="mod">
          <ac:chgData name="Frances Meek" userId="f3af35cc-3229-46e1-af36-3525661cfbd3" providerId="ADAL" clId="{A914B1F7-B09D-4400-97B6-43196F5F505A}" dt="2022-12-02T18:35:59.904" v="20" actId="313"/>
          <ac:spMkLst>
            <pc:docMk/>
            <pc:sldMk cId="482496951" sldId="329"/>
            <ac:spMk id="2" creationId="{AB7EBE14-55C0-C423-6860-80CFB347D346}"/>
          </ac:spMkLst>
        </pc:spChg>
      </pc:sldChg>
      <pc:sldChg chg="modSp mod addCm modCm">
        <pc:chgData name="Frances Meek" userId="f3af35cc-3229-46e1-af36-3525661cfbd3" providerId="ADAL" clId="{A914B1F7-B09D-4400-97B6-43196F5F505A}" dt="2022-12-02T18:34:04.730" v="16"/>
        <pc:sldMkLst>
          <pc:docMk/>
          <pc:sldMk cId="3594171061" sldId="331"/>
        </pc:sldMkLst>
        <pc:graphicFrameChg chg="modGraphic">
          <ac:chgData name="Frances Meek" userId="f3af35cc-3229-46e1-af36-3525661cfbd3" providerId="ADAL" clId="{A914B1F7-B09D-4400-97B6-43196F5F505A}" dt="2022-12-02T18:32:14.906" v="13" actId="20577"/>
          <ac:graphicFrameMkLst>
            <pc:docMk/>
            <pc:sldMk cId="3594171061" sldId="331"/>
            <ac:graphicFrameMk id="4" creationId="{852C40F4-3A0C-2C57-5C1A-53EF072895F3}"/>
          </ac:graphicFrameMkLst>
        </pc:graphicFrameChg>
      </pc:sldChg>
      <pc:sldChg chg="addCm">
        <pc:chgData name="Frances Meek" userId="f3af35cc-3229-46e1-af36-3525661cfbd3" providerId="ADAL" clId="{A914B1F7-B09D-4400-97B6-43196F5F505A}" dt="2022-12-02T18:41:09.181" v="32"/>
        <pc:sldMkLst>
          <pc:docMk/>
          <pc:sldMk cId="2216651741" sldId="349"/>
        </pc:sldMkLst>
      </pc:sldChg>
      <pc:sldChg chg="addCm modCm">
        <pc:chgData name="Frances Meek" userId="f3af35cc-3229-46e1-af36-3525661cfbd3" providerId="ADAL" clId="{A914B1F7-B09D-4400-97B6-43196F5F505A}" dt="2022-12-02T18:26:37.468" v="6"/>
        <pc:sldMkLst>
          <pc:docMk/>
          <pc:sldMk cId="4243285889" sldId="358"/>
        </pc:sldMkLst>
      </pc:sldChg>
      <pc:sldChg chg="modSp mod addCm">
        <pc:chgData name="Frances Meek" userId="f3af35cc-3229-46e1-af36-3525661cfbd3" providerId="ADAL" clId="{A914B1F7-B09D-4400-97B6-43196F5F505A}" dt="2022-12-02T18:38:02.026" v="27"/>
        <pc:sldMkLst>
          <pc:docMk/>
          <pc:sldMk cId="1429771612" sldId="359"/>
        </pc:sldMkLst>
        <pc:spChg chg="mod">
          <ac:chgData name="Frances Meek" userId="f3af35cc-3229-46e1-af36-3525661cfbd3" providerId="ADAL" clId="{A914B1F7-B09D-4400-97B6-43196F5F505A}" dt="2022-12-02T18:24:11.419" v="3" actId="1076"/>
          <ac:spMkLst>
            <pc:docMk/>
            <pc:sldMk cId="1429771612" sldId="359"/>
            <ac:spMk id="73" creationId="{C4231D9E-A013-2C18-3739-E5BA2CA03D5F}"/>
          </ac:spMkLst>
        </pc:spChg>
        <pc:spChg chg="mod">
          <ac:chgData name="Frances Meek" userId="f3af35cc-3229-46e1-af36-3525661cfbd3" providerId="ADAL" clId="{A914B1F7-B09D-4400-97B6-43196F5F505A}" dt="2022-12-02T18:24:13.857" v="4" actId="20577"/>
          <ac:spMkLst>
            <pc:docMk/>
            <pc:sldMk cId="1429771612" sldId="359"/>
            <ac:spMk id="74" creationId="{09D01021-1BDB-38F4-8FE9-1EEB1480A260}"/>
          </ac:spMkLst>
        </pc:spChg>
      </pc:sldChg>
      <pc:sldChg chg="addCm">
        <pc:chgData name="Frances Meek" userId="f3af35cc-3229-46e1-af36-3525661cfbd3" providerId="ADAL" clId="{A914B1F7-B09D-4400-97B6-43196F5F505A}" dt="2022-12-02T18:28:02.323" v="7"/>
        <pc:sldMkLst>
          <pc:docMk/>
          <pc:sldMk cId="784807198" sldId="360"/>
        </pc:sldMkLst>
      </pc:sldChg>
      <pc:sldChg chg="addCm">
        <pc:chgData name="Frances Meek" userId="f3af35cc-3229-46e1-af36-3525661cfbd3" providerId="ADAL" clId="{A914B1F7-B09D-4400-97B6-43196F5F505A}" dt="2022-12-02T18:31:19.280" v="8"/>
        <pc:sldMkLst>
          <pc:docMk/>
          <pc:sldMk cId="1559760123" sldId="362"/>
        </pc:sldMkLst>
      </pc:sldChg>
      <pc:sldChg chg="addCm modCm">
        <pc:chgData name="Frances Meek" userId="f3af35cc-3229-46e1-af36-3525661cfbd3" providerId="ADAL" clId="{A914B1F7-B09D-4400-97B6-43196F5F505A}" dt="2022-12-02T18:38:52.804" v="29"/>
        <pc:sldMkLst>
          <pc:docMk/>
          <pc:sldMk cId="4129383999" sldId="365"/>
        </pc:sldMkLst>
      </pc:sldChg>
      <pc:sldChg chg="addCm">
        <pc:chgData name="Frances Meek" userId="f3af35cc-3229-46e1-af36-3525661cfbd3" providerId="ADAL" clId="{A914B1F7-B09D-4400-97B6-43196F5F505A}" dt="2022-12-02T18:41:28.340" v="33"/>
        <pc:sldMkLst>
          <pc:docMk/>
          <pc:sldMk cId="1446335801" sldId="366"/>
        </pc:sldMkLst>
      </pc:sldChg>
      <pc:sldChg chg="addCm">
        <pc:chgData name="Frances Meek" userId="f3af35cc-3229-46e1-af36-3525661cfbd3" providerId="ADAL" clId="{A914B1F7-B09D-4400-97B6-43196F5F505A}" dt="2022-12-02T18:35:52.313" v="17"/>
        <pc:sldMkLst>
          <pc:docMk/>
          <pc:sldMk cId="1979304561" sldId="367"/>
        </pc:sldMkLst>
      </pc:sldChg>
      <pc:sldChg chg="modSp">
        <pc:chgData name="Frances Meek" userId="f3af35cc-3229-46e1-af36-3525661cfbd3" providerId="ADAL" clId="{A914B1F7-B09D-4400-97B6-43196F5F505A}" dt="2022-12-02T18:31:34.066" v="11" actId="20577"/>
        <pc:sldMkLst>
          <pc:docMk/>
          <pc:sldMk cId="3869903968" sldId="368"/>
        </pc:sldMkLst>
        <pc:spChg chg="mod">
          <ac:chgData name="Frances Meek" userId="f3af35cc-3229-46e1-af36-3525661cfbd3" providerId="ADAL" clId="{A914B1F7-B09D-4400-97B6-43196F5F505A}" dt="2022-12-02T18:31:30.989" v="9" actId="20577"/>
          <ac:spMkLst>
            <pc:docMk/>
            <pc:sldMk cId="3869903968" sldId="368"/>
            <ac:spMk id="9" creationId="{3DFE56E4-5452-665E-03BD-C225DD70181D}"/>
          </ac:spMkLst>
        </pc:spChg>
        <pc:spChg chg="mod">
          <ac:chgData name="Frances Meek" userId="f3af35cc-3229-46e1-af36-3525661cfbd3" providerId="ADAL" clId="{A914B1F7-B09D-4400-97B6-43196F5F505A}" dt="2022-12-02T18:31:32.436" v="10" actId="20577"/>
          <ac:spMkLst>
            <pc:docMk/>
            <pc:sldMk cId="3869903968" sldId="368"/>
            <ac:spMk id="10" creationId="{AE93D599-6421-F7E0-CBA4-057CB1406970}"/>
          </ac:spMkLst>
        </pc:spChg>
        <pc:spChg chg="mod">
          <ac:chgData name="Frances Meek" userId="f3af35cc-3229-46e1-af36-3525661cfbd3" providerId="ADAL" clId="{A914B1F7-B09D-4400-97B6-43196F5F505A}" dt="2022-12-02T18:31:34.066" v="11" actId="20577"/>
          <ac:spMkLst>
            <pc:docMk/>
            <pc:sldMk cId="3869903968" sldId="368"/>
            <ac:spMk id="13" creationId="{D382B76B-4447-5181-F811-B1BE5C4C524B}"/>
          </ac:spMkLst>
        </pc:spChg>
      </pc:sldChg>
    </pc:docChg>
  </pc:docChgLst>
  <pc:docChgLst>
    <pc:chgData name="Ewen Trafford" userId="e520b4bf-a196-48b7-bc10-b1590a457daa" providerId="ADAL" clId="{75BD9163-2850-4C92-9406-028FF371C393}"/>
    <pc:docChg chg="undo custSel delSld modSld">
      <pc:chgData name="Ewen Trafford" userId="e520b4bf-a196-48b7-bc10-b1590a457daa" providerId="ADAL" clId="{75BD9163-2850-4C92-9406-028FF371C393}" dt="2022-11-08T15:43:22.655" v="1202" actId="14100"/>
      <pc:docMkLst>
        <pc:docMk/>
      </pc:docMkLst>
      <pc:sldChg chg="modSp mod">
        <pc:chgData name="Ewen Trafford" userId="e520b4bf-a196-48b7-bc10-b1590a457daa" providerId="ADAL" clId="{75BD9163-2850-4C92-9406-028FF371C393}" dt="2022-11-04T10:56:59.078" v="138" actId="20577"/>
        <pc:sldMkLst>
          <pc:docMk/>
          <pc:sldMk cId="2302005153" sldId="261"/>
        </pc:sldMkLst>
        <pc:spChg chg="mod">
          <ac:chgData name="Ewen Trafford" userId="e520b4bf-a196-48b7-bc10-b1590a457daa" providerId="ADAL" clId="{75BD9163-2850-4C92-9406-028FF371C393}" dt="2022-11-04T10:56:59.078" v="138" actId="20577"/>
          <ac:spMkLst>
            <pc:docMk/>
            <pc:sldMk cId="2302005153" sldId="261"/>
            <ac:spMk id="2" creationId="{00000000-0000-0000-0000-000000000000}"/>
          </ac:spMkLst>
        </pc:spChg>
      </pc:sldChg>
      <pc:sldChg chg="delCm">
        <pc:chgData name="Ewen Trafford" userId="e520b4bf-a196-48b7-bc10-b1590a457daa" providerId="ADAL" clId="{75BD9163-2850-4C92-9406-028FF371C393}" dt="2022-11-08T13:36:21.332" v="552"/>
        <pc:sldMkLst>
          <pc:docMk/>
          <pc:sldMk cId="813545271" sldId="316"/>
        </pc:sldMkLst>
      </pc:sldChg>
      <pc:sldChg chg="addSp delSp modSp mod">
        <pc:chgData name="Ewen Trafford" userId="e520b4bf-a196-48b7-bc10-b1590a457daa" providerId="ADAL" clId="{75BD9163-2850-4C92-9406-028FF371C393}" dt="2022-11-04T10:48:51.746" v="70" actId="1076"/>
        <pc:sldMkLst>
          <pc:docMk/>
          <pc:sldMk cId="2831772784" sldId="320"/>
        </pc:sldMkLst>
        <pc:spChg chg="del">
          <ac:chgData name="Ewen Trafford" userId="e520b4bf-a196-48b7-bc10-b1590a457daa" providerId="ADAL" clId="{75BD9163-2850-4C92-9406-028FF371C393}" dt="2022-11-04T10:48:20.176" v="59" actId="478"/>
          <ac:spMkLst>
            <pc:docMk/>
            <pc:sldMk cId="2831772784" sldId="320"/>
            <ac:spMk id="5" creationId="{204D3F3D-0ABD-B7D6-B20A-0141062F7E1D}"/>
          </ac:spMkLst>
        </pc:spChg>
        <pc:spChg chg="ord">
          <ac:chgData name="Ewen Trafford" userId="e520b4bf-a196-48b7-bc10-b1590a457daa" providerId="ADAL" clId="{75BD9163-2850-4C92-9406-028FF371C393}" dt="2022-11-04T10:48:16.011" v="57" actId="167"/>
          <ac:spMkLst>
            <pc:docMk/>
            <pc:sldMk cId="2831772784" sldId="320"/>
            <ac:spMk id="6" creationId="{EA54D198-1E8A-FB19-3347-D627F60773A2}"/>
          </ac:spMkLst>
        </pc:spChg>
        <pc:spChg chg="mod">
          <ac:chgData name="Ewen Trafford" userId="e520b4bf-a196-48b7-bc10-b1590a457daa" providerId="ADAL" clId="{75BD9163-2850-4C92-9406-028FF371C393}" dt="2022-11-04T10:48:51.746" v="70" actId="1076"/>
          <ac:spMkLst>
            <pc:docMk/>
            <pc:sldMk cId="2831772784" sldId="320"/>
            <ac:spMk id="10" creationId="{7C5EACD4-505E-AE03-0867-DA82D3CD2F84}"/>
          </ac:spMkLst>
        </pc:spChg>
        <pc:picChg chg="mod">
          <ac:chgData name="Ewen Trafford" userId="e520b4bf-a196-48b7-bc10-b1590a457daa" providerId="ADAL" clId="{75BD9163-2850-4C92-9406-028FF371C393}" dt="2022-11-04T10:48:47.209" v="69" actId="1076"/>
          <ac:picMkLst>
            <pc:docMk/>
            <pc:sldMk cId="2831772784" sldId="320"/>
            <ac:picMk id="7" creationId="{5B57ADA1-CD0B-A21C-94D8-281622E7E5FE}"/>
          </ac:picMkLst>
        </pc:picChg>
        <pc:picChg chg="add mod">
          <ac:chgData name="Ewen Trafford" userId="e520b4bf-a196-48b7-bc10-b1590a457daa" providerId="ADAL" clId="{75BD9163-2850-4C92-9406-028FF371C393}" dt="2022-11-04T10:48:37.752" v="65" actId="1076"/>
          <ac:picMkLst>
            <pc:docMk/>
            <pc:sldMk cId="2831772784" sldId="320"/>
            <ac:picMk id="11" creationId="{513C5939-8926-8978-6340-F641FDD92771}"/>
          </ac:picMkLst>
        </pc:picChg>
        <pc:picChg chg="del">
          <ac:chgData name="Ewen Trafford" userId="e520b4bf-a196-48b7-bc10-b1590a457daa" providerId="ADAL" clId="{75BD9163-2850-4C92-9406-028FF371C393}" dt="2022-11-04T10:48:17.665" v="58" actId="478"/>
          <ac:picMkLst>
            <pc:docMk/>
            <pc:sldMk cId="2831772784" sldId="320"/>
            <ac:picMk id="1026" creationId="{5ACD560B-50DF-5B21-8148-0A0991899F9F}"/>
          </ac:picMkLst>
        </pc:picChg>
        <pc:picChg chg="mod">
          <ac:chgData name="Ewen Trafford" userId="e520b4bf-a196-48b7-bc10-b1590a457daa" providerId="ADAL" clId="{75BD9163-2850-4C92-9406-028FF371C393}" dt="2022-11-04T10:48:39.186" v="66" actId="1076"/>
          <ac:picMkLst>
            <pc:docMk/>
            <pc:sldMk cId="2831772784" sldId="320"/>
            <ac:picMk id="1028" creationId="{9294093B-8B16-6220-DD24-0C96B1DA0642}"/>
          </ac:picMkLst>
        </pc:picChg>
        <pc:picChg chg="mod">
          <ac:chgData name="Ewen Trafford" userId="e520b4bf-a196-48b7-bc10-b1590a457daa" providerId="ADAL" clId="{75BD9163-2850-4C92-9406-028FF371C393}" dt="2022-11-04T10:48:42.497" v="68" actId="167"/>
          <ac:picMkLst>
            <pc:docMk/>
            <pc:sldMk cId="2831772784" sldId="320"/>
            <ac:picMk id="1030" creationId="{682EB514-1488-2671-A750-8B26BC09E068}"/>
          </ac:picMkLst>
        </pc:picChg>
      </pc:sldChg>
      <pc:sldChg chg="modSp mod">
        <pc:chgData name="Ewen Trafford" userId="e520b4bf-a196-48b7-bc10-b1590a457daa" providerId="ADAL" clId="{75BD9163-2850-4C92-9406-028FF371C393}" dt="2022-11-01T08:35:06.142" v="25" actId="20577"/>
        <pc:sldMkLst>
          <pc:docMk/>
          <pc:sldMk cId="1195441026" sldId="321"/>
        </pc:sldMkLst>
        <pc:spChg chg="mod">
          <ac:chgData name="Ewen Trafford" userId="e520b4bf-a196-48b7-bc10-b1590a457daa" providerId="ADAL" clId="{75BD9163-2850-4C92-9406-028FF371C393}" dt="2022-11-01T08:35:06.142" v="25" actId="20577"/>
          <ac:spMkLst>
            <pc:docMk/>
            <pc:sldMk cId="1195441026" sldId="321"/>
            <ac:spMk id="8" creationId="{B6F4C906-C0D8-F664-A7BA-3956F17C80BF}"/>
          </ac:spMkLst>
        </pc:spChg>
      </pc:sldChg>
      <pc:sldChg chg="delSp modSp mod delCm">
        <pc:chgData name="Ewen Trafford" userId="e520b4bf-a196-48b7-bc10-b1590a457daa" providerId="ADAL" clId="{75BD9163-2850-4C92-9406-028FF371C393}" dt="2022-11-01T08:40:13.629" v="48" actId="478"/>
        <pc:sldMkLst>
          <pc:docMk/>
          <pc:sldMk cId="3594171061" sldId="331"/>
        </pc:sldMkLst>
        <pc:spChg chg="del">
          <ac:chgData name="Ewen Trafford" userId="e520b4bf-a196-48b7-bc10-b1590a457daa" providerId="ADAL" clId="{75BD9163-2850-4C92-9406-028FF371C393}" dt="2022-11-01T08:40:13.629" v="48" actId="478"/>
          <ac:spMkLst>
            <pc:docMk/>
            <pc:sldMk cId="3594171061" sldId="331"/>
            <ac:spMk id="3" creationId="{F125752D-9A62-EC8F-B592-EBFBCA644C0A}"/>
          </ac:spMkLst>
        </pc:spChg>
        <pc:graphicFrameChg chg="modGraphic">
          <ac:chgData name="Ewen Trafford" userId="e520b4bf-a196-48b7-bc10-b1590a457daa" providerId="ADAL" clId="{75BD9163-2850-4C92-9406-028FF371C393}" dt="2022-11-01T08:40:09.538" v="47" actId="2165"/>
          <ac:graphicFrameMkLst>
            <pc:docMk/>
            <pc:sldMk cId="3594171061" sldId="331"/>
            <ac:graphicFrameMk id="4" creationId="{852C40F4-3A0C-2C57-5C1A-53EF072895F3}"/>
          </ac:graphicFrameMkLst>
        </pc:graphicFrameChg>
      </pc:sldChg>
      <pc:sldChg chg="addSp modSp mod">
        <pc:chgData name="Ewen Trafford" userId="e520b4bf-a196-48b7-bc10-b1590a457daa" providerId="ADAL" clId="{75BD9163-2850-4C92-9406-028FF371C393}" dt="2022-11-08T13:59:09.545" v="606" actId="20577"/>
        <pc:sldMkLst>
          <pc:docMk/>
          <pc:sldMk cId="2216651741" sldId="349"/>
        </pc:sldMkLst>
        <pc:spChg chg="add mod">
          <ac:chgData name="Ewen Trafford" userId="e520b4bf-a196-48b7-bc10-b1590a457daa" providerId="ADAL" clId="{75BD9163-2850-4C92-9406-028FF371C393}" dt="2022-11-08T13:59:09.545" v="606" actId="20577"/>
          <ac:spMkLst>
            <pc:docMk/>
            <pc:sldMk cId="2216651741" sldId="349"/>
            <ac:spMk id="4" creationId="{D3445774-6C54-7EEC-6FDC-A10B90AAB57C}"/>
          </ac:spMkLst>
        </pc:spChg>
        <pc:spChg chg="add mod">
          <ac:chgData name="Ewen Trafford" userId="e520b4bf-a196-48b7-bc10-b1590a457daa" providerId="ADAL" clId="{75BD9163-2850-4C92-9406-028FF371C393}" dt="2022-11-08T13:44:55.574" v="582" actId="1076"/>
          <ac:spMkLst>
            <pc:docMk/>
            <pc:sldMk cId="2216651741" sldId="349"/>
            <ac:spMk id="5" creationId="{3D970188-9AE1-BE51-687C-3319645C551C}"/>
          </ac:spMkLst>
        </pc:spChg>
      </pc:sldChg>
      <pc:sldChg chg="modSp del mod">
        <pc:chgData name="Ewen Trafford" userId="e520b4bf-a196-48b7-bc10-b1590a457daa" providerId="ADAL" clId="{75BD9163-2850-4C92-9406-028FF371C393}" dt="2022-11-08T13:44:57.122" v="583" actId="47"/>
        <pc:sldMkLst>
          <pc:docMk/>
          <pc:sldMk cId="1044731279" sldId="350"/>
        </pc:sldMkLst>
        <pc:spChg chg="mod">
          <ac:chgData name="Ewen Trafford" userId="e520b4bf-a196-48b7-bc10-b1590a457daa" providerId="ADAL" clId="{75BD9163-2850-4C92-9406-028FF371C393}" dt="2022-11-08T13:36:36.784" v="556" actId="13926"/>
          <ac:spMkLst>
            <pc:docMk/>
            <pc:sldMk cId="1044731279" sldId="350"/>
            <ac:spMk id="2" creationId="{09C8F7D6-0DE9-55CD-510F-91955FB21153}"/>
          </ac:spMkLst>
        </pc:spChg>
        <pc:spChg chg="mod">
          <ac:chgData name="Ewen Trafford" userId="e520b4bf-a196-48b7-bc10-b1590a457daa" providerId="ADAL" clId="{75BD9163-2850-4C92-9406-028FF371C393}" dt="2022-11-08T13:37:15.401" v="577" actId="20577"/>
          <ac:spMkLst>
            <pc:docMk/>
            <pc:sldMk cId="1044731279" sldId="350"/>
            <ac:spMk id="3" creationId="{3F4AB2AE-64C7-4EAD-7377-33BA885C3FC6}"/>
          </ac:spMkLst>
        </pc:spChg>
      </pc:sldChg>
      <pc:sldChg chg="modSp mod">
        <pc:chgData name="Ewen Trafford" userId="e520b4bf-a196-48b7-bc10-b1590a457daa" providerId="ADAL" clId="{75BD9163-2850-4C92-9406-028FF371C393}" dt="2022-11-01T08:34:11.209" v="22" actId="14734"/>
        <pc:sldMkLst>
          <pc:docMk/>
          <pc:sldMk cId="797295591" sldId="357"/>
        </pc:sldMkLst>
        <pc:graphicFrameChg chg="mod modGraphic">
          <ac:chgData name="Ewen Trafford" userId="e520b4bf-a196-48b7-bc10-b1590a457daa" providerId="ADAL" clId="{75BD9163-2850-4C92-9406-028FF371C393}" dt="2022-11-01T08:34:11.209" v="22" actId="14734"/>
          <ac:graphicFrameMkLst>
            <pc:docMk/>
            <pc:sldMk cId="797295591" sldId="357"/>
            <ac:graphicFrameMk id="4" creationId="{25EF3100-623E-9F60-B8DB-D20FBD30A25F}"/>
          </ac:graphicFrameMkLst>
        </pc:graphicFrameChg>
      </pc:sldChg>
      <pc:sldChg chg="addSp delSp modSp mod">
        <pc:chgData name="Ewen Trafford" userId="e520b4bf-a196-48b7-bc10-b1590a457daa" providerId="ADAL" clId="{75BD9163-2850-4C92-9406-028FF371C393}" dt="2022-11-04T10:49:46.125" v="76" actId="1076"/>
        <pc:sldMkLst>
          <pc:docMk/>
          <pc:sldMk cId="4243285889" sldId="358"/>
        </pc:sldMkLst>
        <pc:spChg chg="del">
          <ac:chgData name="Ewen Trafford" userId="e520b4bf-a196-48b7-bc10-b1590a457daa" providerId="ADAL" clId="{75BD9163-2850-4C92-9406-028FF371C393}" dt="2022-11-04T10:49:33.017" v="71" actId="478"/>
          <ac:spMkLst>
            <pc:docMk/>
            <pc:sldMk cId="4243285889" sldId="358"/>
            <ac:spMk id="8" creationId="{1E756A80-0507-EBA7-A61C-43BC0DADB8B3}"/>
          </ac:spMkLst>
        </pc:spChg>
        <pc:picChg chg="del">
          <ac:chgData name="Ewen Trafford" userId="e520b4bf-a196-48b7-bc10-b1590a457daa" providerId="ADAL" clId="{75BD9163-2850-4C92-9406-028FF371C393}" dt="2022-11-04T10:49:33.704" v="72" actId="478"/>
          <ac:picMkLst>
            <pc:docMk/>
            <pc:sldMk cId="4243285889" sldId="358"/>
            <ac:picMk id="4" creationId="{C872694A-7F91-5FD8-8E72-66E69BD79050}"/>
          </ac:picMkLst>
        </pc:picChg>
        <pc:picChg chg="add mod">
          <ac:chgData name="Ewen Trafford" userId="e520b4bf-a196-48b7-bc10-b1590a457daa" providerId="ADAL" clId="{75BD9163-2850-4C92-9406-028FF371C393}" dt="2022-11-04T10:49:46.125" v="76" actId="1076"/>
          <ac:picMkLst>
            <pc:docMk/>
            <pc:sldMk cId="4243285889" sldId="358"/>
            <ac:picMk id="6" creationId="{4350D5FA-7D50-C61A-EA2A-715B4BE680A6}"/>
          </ac:picMkLst>
        </pc:picChg>
      </pc:sldChg>
      <pc:sldChg chg="addSp delSp modSp mod">
        <pc:chgData name="Ewen Trafford" userId="e520b4bf-a196-48b7-bc10-b1590a457daa" providerId="ADAL" clId="{75BD9163-2850-4C92-9406-028FF371C393}" dt="2022-11-04T11:27:08.840" v="550" actId="1076"/>
        <pc:sldMkLst>
          <pc:docMk/>
          <pc:sldMk cId="1429771612" sldId="359"/>
        </pc:sldMkLst>
        <pc:spChg chg="mod">
          <ac:chgData name="Ewen Trafford" userId="e520b4bf-a196-48b7-bc10-b1590a457daa" providerId="ADAL" clId="{75BD9163-2850-4C92-9406-028FF371C393}" dt="2022-11-04T11:24:53.720" v="256" actId="14100"/>
          <ac:spMkLst>
            <pc:docMk/>
            <pc:sldMk cId="1429771612" sldId="359"/>
            <ac:spMk id="3" creationId="{BF873EDB-931B-29CD-393B-288BD2C07FB8}"/>
          </ac:spMkLst>
        </pc:spChg>
        <pc:spChg chg="del mod">
          <ac:chgData name="Ewen Trafford" userId="e520b4bf-a196-48b7-bc10-b1590a457daa" providerId="ADAL" clId="{75BD9163-2850-4C92-9406-028FF371C393}" dt="2022-11-04T11:17:37.692" v="139" actId="478"/>
          <ac:spMkLst>
            <pc:docMk/>
            <pc:sldMk cId="1429771612" sldId="359"/>
            <ac:spMk id="4" creationId="{A68AF6BA-B22F-42D2-1251-AD6DA75ADFB9}"/>
          </ac:spMkLst>
        </pc:spChg>
        <pc:spChg chg="add mod">
          <ac:chgData name="Ewen Trafford" userId="e520b4bf-a196-48b7-bc10-b1590a457daa" providerId="ADAL" clId="{75BD9163-2850-4C92-9406-028FF371C393}" dt="2022-11-04T11:24:48.868" v="255" actId="164"/>
          <ac:spMkLst>
            <pc:docMk/>
            <pc:sldMk cId="1429771612" sldId="359"/>
            <ac:spMk id="5" creationId="{BC62C909-8806-3B10-20EB-4294C88BE434}"/>
          </ac:spMkLst>
        </pc:spChg>
        <pc:spChg chg="add del mod">
          <ac:chgData name="Ewen Trafford" userId="e520b4bf-a196-48b7-bc10-b1590a457daa" providerId="ADAL" clId="{75BD9163-2850-4C92-9406-028FF371C393}" dt="2022-11-04T11:18:21.410" v="143"/>
          <ac:spMkLst>
            <pc:docMk/>
            <pc:sldMk cId="1429771612" sldId="359"/>
            <ac:spMk id="6" creationId="{89CDFAA0-23FF-6B13-7379-1CE979811BF2}"/>
          </ac:spMkLst>
        </pc:spChg>
        <pc:spChg chg="add mod">
          <ac:chgData name="Ewen Trafford" userId="e520b4bf-a196-48b7-bc10-b1590a457daa" providerId="ADAL" clId="{75BD9163-2850-4C92-9406-028FF371C393}" dt="2022-11-04T11:24:48.868" v="255" actId="164"/>
          <ac:spMkLst>
            <pc:docMk/>
            <pc:sldMk cId="1429771612" sldId="359"/>
            <ac:spMk id="7" creationId="{28FE48B6-B388-EAE2-9329-ED6EC85DD4BF}"/>
          </ac:spMkLst>
        </pc:spChg>
        <pc:spChg chg="add mod">
          <ac:chgData name="Ewen Trafford" userId="e520b4bf-a196-48b7-bc10-b1590a457daa" providerId="ADAL" clId="{75BD9163-2850-4C92-9406-028FF371C393}" dt="2022-11-04T11:24:48.868" v="255" actId="164"/>
          <ac:spMkLst>
            <pc:docMk/>
            <pc:sldMk cId="1429771612" sldId="359"/>
            <ac:spMk id="8" creationId="{71423A7E-8270-20A8-BC98-B3604E5BB3E2}"/>
          </ac:spMkLst>
        </pc:spChg>
        <pc:spChg chg="add mod">
          <ac:chgData name="Ewen Trafford" userId="e520b4bf-a196-48b7-bc10-b1590a457daa" providerId="ADAL" clId="{75BD9163-2850-4C92-9406-028FF371C393}" dt="2022-11-04T11:24:48.868" v="255" actId="164"/>
          <ac:spMkLst>
            <pc:docMk/>
            <pc:sldMk cId="1429771612" sldId="359"/>
            <ac:spMk id="9" creationId="{732C3394-603E-17A7-1042-CEB3B3B1FAFA}"/>
          </ac:spMkLst>
        </pc:spChg>
        <pc:spChg chg="add mod">
          <ac:chgData name="Ewen Trafford" userId="e520b4bf-a196-48b7-bc10-b1590a457daa" providerId="ADAL" clId="{75BD9163-2850-4C92-9406-028FF371C393}" dt="2022-11-04T11:24:48.868" v="255" actId="164"/>
          <ac:spMkLst>
            <pc:docMk/>
            <pc:sldMk cId="1429771612" sldId="359"/>
            <ac:spMk id="10" creationId="{9B79EAB8-7FDC-E091-6935-A5B46659885B}"/>
          </ac:spMkLst>
        </pc:spChg>
        <pc:spChg chg="add mod">
          <ac:chgData name="Ewen Trafford" userId="e520b4bf-a196-48b7-bc10-b1590a457daa" providerId="ADAL" clId="{75BD9163-2850-4C92-9406-028FF371C393}" dt="2022-11-04T11:24:48.868" v="255" actId="164"/>
          <ac:spMkLst>
            <pc:docMk/>
            <pc:sldMk cId="1429771612" sldId="359"/>
            <ac:spMk id="11" creationId="{942B7B3F-6D65-C02D-E436-60788DCD3C89}"/>
          </ac:spMkLst>
        </pc:spChg>
        <pc:spChg chg="add mod">
          <ac:chgData name="Ewen Trafford" userId="e520b4bf-a196-48b7-bc10-b1590a457daa" providerId="ADAL" clId="{75BD9163-2850-4C92-9406-028FF371C393}" dt="2022-11-04T11:24:48.868" v="255" actId="164"/>
          <ac:spMkLst>
            <pc:docMk/>
            <pc:sldMk cId="1429771612" sldId="359"/>
            <ac:spMk id="12" creationId="{061388D2-1814-2263-01AC-8654A9DE770C}"/>
          </ac:spMkLst>
        </pc:spChg>
        <pc:spChg chg="add mod">
          <ac:chgData name="Ewen Trafford" userId="e520b4bf-a196-48b7-bc10-b1590a457daa" providerId="ADAL" clId="{75BD9163-2850-4C92-9406-028FF371C393}" dt="2022-11-04T11:24:48.868" v="255" actId="164"/>
          <ac:spMkLst>
            <pc:docMk/>
            <pc:sldMk cId="1429771612" sldId="359"/>
            <ac:spMk id="13" creationId="{2186E69A-3B80-929A-9655-E0B90823BC0A}"/>
          </ac:spMkLst>
        </pc:spChg>
        <pc:spChg chg="add mod">
          <ac:chgData name="Ewen Trafford" userId="e520b4bf-a196-48b7-bc10-b1590a457daa" providerId="ADAL" clId="{75BD9163-2850-4C92-9406-028FF371C393}" dt="2022-11-04T11:24:48.868" v="255" actId="164"/>
          <ac:spMkLst>
            <pc:docMk/>
            <pc:sldMk cId="1429771612" sldId="359"/>
            <ac:spMk id="14" creationId="{A516B25C-07B6-DC88-FEC9-6FB52B85C4CE}"/>
          </ac:spMkLst>
        </pc:spChg>
        <pc:spChg chg="add mod">
          <ac:chgData name="Ewen Trafford" userId="e520b4bf-a196-48b7-bc10-b1590a457daa" providerId="ADAL" clId="{75BD9163-2850-4C92-9406-028FF371C393}" dt="2022-11-04T11:24:48.868" v="255" actId="164"/>
          <ac:spMkLst>
            <pc:docMk/>
            <pc:sldMk cId="1429771612" sldId="359"/>
            <ac:spMk id="15" creationId="{8B43BB11-1B44-A2A8-0EAB-68C1BE11FECC}"/>
          </ac:spMkLst>
        </pc:spChg>
        <pc:spChg chg="add mod">
          <ac:chgData name="Ewen Trafford" userId="e520b4bf-a196-48b7-bc10-b1590a457daa" providerId="ADAL" clId="{75BD9163-2850-4C92-9406-028FF371C393}" dt="2022-11-04T11:24:48.868" v="255" actId="164"/>
          <ac:spMkLst>
            <pc:docMk/>
            <pc:sldMk cId="1429771612" sldId="359"/>
            <ac:spMk id="16" creationId="{58AA16FE-C749-02D3-0327-C193D3E0BBB5}"/>
          </ac:spMkLst>
        </pc:spChg>
        <pc:spChg chg="add mod">
          <ac:chgData name="Ewen Trafford" userId="e520b4bf-a196-48b7-bc10-b1590a457daa" providerId="ADAL" clId="{75BD9163-2850-4C92-9406-028FF371C393}" dt="2022-11-04T11:24:48.868" v="255" actId="164"/>
          <ac:spMkLst>
            <pc:docMk/>
            <pc:sldMk cId="1429771612" sldId="359"/>
            <ac:spMk id="17" creationId="{7C182FDA-A990-DEE5-1FBD-BD523BD7E631}"/>
          </ac:spMkLst>
        </pc:spChg>
        <pc:spChg chg="add mod">
          <ac:chgData name="Ewen Trafford" userId="e520b4bf-a196-48b7-bc10-b1590a457daa" providerId="ADAL" clId="{75BD9163-2850-4C92-9406-028FF371C393}" dt="2022-11-04T11:24:48.868" v="255" actId="164"/>
          <ac:spMkLst>
            <pc:docMk/>
            <pc:sldMk cId="1429771612" sldId="359"/>
            <ac:spMk id="18" creationId="{2B66F4D6-0DFA-BB27-CDE9-DF2BB78C7E0B}"/>
          </ac:spMkLst>
        </pc:spChg>
        <pc:spChg chg="add mod">
          <ac:chgData name="Ewen Trafford" userId="e520b4bf-a196-48b7-bc10-b1590a457daa" providerId="ADAL" clId="{75BD9163-2850-4C92-9406-028FF371C393}" dt="2022-11-04T11:24:48.868" v="255" actId="164"/>
          <ac:spMkLst>
            <pc:docMk/>
            <pc:sldMk cId="1429771612" sldId="359"/>
            <ac:spMk id="19" creationId="{81FF31A2-CC72-F073-23AE-15E57D663D34}"/>
          </ac:spMkLst>
        </pc:spChg>
        <pc:spChg chg="add mod">
          <ac:chgData name="Ewen Trafford" userId="e520b4bf-a196-48b7-bc10-b1590a457daa" providerId="ADAL" clId="{75BD9163-2850-4C92-9406-028FF371C393}" dt="2022-11-04T11:24:48.868" v="255" actId="164"/>
          <ac:spMkLst>
            <pc:docMk/>
            <pc:sldMk cId="1429771612" sldId="359"/>
            <ac:spMk id="20" creationId="{C06BC7C7-9024-E853-FA5E-CF06693CE20E}"/>
          </ac:spMkLst>
        </pc:spChg>
        <pc:spChg chg="add mod">
          <ac:chgData name="Ewen Trafford" userId="e520b4bf-a196-48b7-bc10-b1590a457daa" providerId="ADAL" clId="{75BD9163-2850-4C92-9406-028FF371C393}" dt="2022-11-04T11:24:48.868" v="255" actId="164"/>
          <ac:spMkLst>
            <pc:docMk/>
            <pc:sldMk cId="1429771612" sldId="359"/>
            <ac:spMk id="21" creationId="{7A3478D0-0E67-5C87-F5DD-FFF930B8DB43}"/>
          </ac:spMkLst>
        </pc:spChg>
        <pc:spChg chg="add mod">
          <ac:chgData name="Ewen Trafford" userId="e520b4bf-a196-48b7-bc10-b1590a457daa" providerId="ADAL" clId="{75BD9163-2850-4C92-9406-028FF371C393}" dt="2022-11-04T11:24:48.868" v="255" actId="164"/>
          <ac:spMkLst>
            <pc:docMk/>
            <pc:sldMk cId="1429771612" sldId="359"/>
            <ac:spMk id="22" creationId="{2C025EA1-4F93-D22F-F085-CCDC06213654}"/>
          </ac:spMkLst>
        </pc:spChg>
        <pc:spChg chg="add mod">
          <ac:chgData name="Ewen Trafford" userId="e520b4bf-a196-48b7-bc10-b1590a457daa" providerId="ADAL" clId="{75BD9163-2850-4C92-9406-028FF371C393}" dt="2022-11-04T11:24:48.868" v="255" actId="164"/>
          <ac:spMkLst>
            <pc:docMk/>
            <pc:sldMk cId="1429771612" sldId="359"/>
            <ac:spMk id="23" creationId="{8B02DD61-9990-2168-5651-6C80231202F1}"/>
          </ac:spMkLst>
        </pc:spChg>
        <pc:spChg chg="add del mod">
          <ac:chgData name="Ewen Trafford" userId="e520b4bf-a196-48b7-bc10-b1590a457daa" providerId="ADAL" clId="{75BD9163-2850-4C92-9406-028FF371C393}" dt="2022-11-04T11:21:21.352" v="214" actId="478"/>
          <ac:spMkLst>
            <pc:docMk/>
            <pc:sldMk cId="1429771612" sldId="359"/>
            <ac:spMk id="24" creationId="{E3489825-2F31-CEC0-546C-15FF034A3B97}"/>
          </ac:spMkLst>
        </pc:spChg>
        <pc:spChg chg="add del mod">
          <ac:chgData name="Ewen Trafford" userId="e520b4bf-a196-48b7-bc10-b1590a457daa" providerId="ADAL" clId="{75BD9163-2850-4C92-9406-028FF371C393}" dt="2022-11-04T11:22:12.586" v="232" actId="478"/>
          <ac:spMkLst>
            <pc:docMk/>
            <pc:sldMk cId="1429771612" sldId="359"/>
            <ac:spMk id="25" creationId="{BB194F07-2B5A-B5CA-FFDB-2DE34F0E4DDA}"/>
          </ac:spMkLst>
        </pc:spChg>
        <pc:spChg chg="add del mod">
          <ac:chgData name="Ewen Trafford" userId="e520b4bf-a196-48b7-bc10-b1590a457daa" providerId="ADAL" clId="{75BD9163-2850-4C92-9406-028FF371C393}" dt="2022-11-04T11:21:19.572" v="212" actId="478"/>
          <ac:spMkLst>
            <pc:docMk/>
            <pc:sldMk cId="1429771612" sldId="359"/>
            <ac:spMk id="26" creationId="{31160108-07FA-3C54-7CD1-A395A6C75B86}"/>
          </ac:spMkLst>
        </pc:spChg>
        <pc:spChg chg="add del mod">
          <ac:chgData name="Ewen Trafford" userId="e520b4bf-a196-48b7-bc10-b1590a457daa" providerId="ADAL" clId="{75BD9163-2850-4C92-9406-028FF371C393}" dt="2022-11-04T11:21:20.585" v="213" actId="478"/>
          <ac:spMkLst>
            <pc:docMk/>
            <pc:sldMk cId="1429771612" sldId="359"/>
            <ac:spMk id="27" creationId="{2A175FAA-19D0-0ABC-4EDA-6E16B1DE5A23}"/>
          </ac:spMkLst>
        </pc:spChg>
        <pc:spChg chg="add del mod">
          <ac:chgData name="Ewen Trafford" userId="e520b4bf-a196-48b7-bc10-b1590a457daa" providerId="ADAL" clId="{75BD9163-2850-4C92-9406-028FF371C393}" dt="2022-11-04T11:21:18.770" v="211" actId="478"/>
          <ac:spMkLst>
            <pc:docMk/>
            <pc:sldMk cId="1429771612" sldId="359"/>
            <ac:spMk id="28" creationId="{1FD2A9C7-0DAB-3C1E-E9D7-86C6BC0DA621}"/>
          </ac:spMkLst>
        </pc:spChg>
        <pc:spChg chg="add del mod">
          <ac:chgData name="Ewen Trafford" userId="e520b4bf-a196-48b7-bc10-b1590a457daa" providerId="ADAL" clId="{75BD9163-2850-4C92-9406-028FF371C393}" dt="2022-11-04T11:21:16.810" v="210"/>
          <ac:spMkLst>
            <pc:docMk/>
            <pc:sldMk cId="1429771612" sldId="359"/>
            <ac:spMk id="29" creationId="{D0B9BDC5-F7C9-17EE-B638-0A3E66676947}"/>
          </ac:spMkLst>
        </pc:spChg>
        <pc:spChg chg="add del mod">
          <ac:chgData name="Ewen Trafford" userId="e520b4bf-a196-48b7-bc10-b1590a457daa" providerId="ADAL" clId="{75BD9163-2850-4C92-9406-028FF371C393}" dt="2022-11-04T11:21:16.458" v="209"/>
          <ac:spMkLst>
            <pc:docMk/>
            <pc:sldMk cId="1429771612" sldId="359"/>
            <ac:spMk id="30" creationId="{24103192-9504-3FA6-0139-8CFF147F78DB}"/>
          </ac:spMkLst>
        </pc:spChg>
        <pc:spChg chg="add del mod">
          <ac:chgData name="Ewen Trafford" userId="e520b4bf-a196-48b7-bc10-b1590a457daa" providerId="ADAL" clId="{75BD9163-2850-4C92-9406-028FF371C393}" dt="2022-11-04T11:21:16.139" v="208"/>
          <ac:spMkLst>
            <pc:docMk/>
            <pc:sldMk cId="1429771612" sldId="359"/>
            <ac:spMk id="31" creationId="{E6391095-E728-6B5E-0158-5F4E897160D6}"/>
          </ac:spMkLst>
        </pc:spChg>
        <pc:spChg chg="add del mod">
          <ac:chgData name="Ewen Trafford" userId="e520b4bf-a196-48b7-bc10-b1590a457daa" providerId="ADAL" clId="{75BD9163-2850-4C92-9406-028FF371C393}" dt="2022-11-04T11:21:15.574" v="207"/>
          <ac:spMkLst>
            <pc:docMk/>
            <pc:sldMk cId="1429771612" sldId="359"/>
            <ac:spMk id="32" creationId="{1FF49C40-94BD-97D7-687A-5BD66EA7ECD1}"/>
          </ac:spMkLst>
        </pc:spChg>
        <pc:spChg chg="add mod">
          <ac:chgData name="Ewen Trafford" userId="e520b4bf-a196-48b7-bc10-b1590a457daa" providerId="ADAL" clId="{75BD9163-2850-4C92-9406-028FF371C393}" dt="2022-11-04T11:24:48.868" v="255" actId="164"/>
          <ac:spMkLst>
            <pc:docMk/>
            <pc:sldMk cId="1429771612" sldId="359"/>
            <ac:spMk id="33" creationId="{6459DA77-66A3-D644-ED27-1C87E9CCBCA1}"/>
          </ac:spMkLst>
        </pc:spChg>
        <pc:spChg chg="add mod">
          <ac:chgData name="Ewen Trafford" userId="e520b4bf-a196-48b7-bc10-b1590a457daa" providerId="ADAL" clId="{75BD9163-2850-4C92-9406-028FF371C393}" dt="2022-11-04T11:24:48.868" v="255" actId="164"/>
          <ac:spMkLst>
            <pc:docMk/>
            <pc:sldMk cId="1429771612" sldId="359"/>
            <ac:spMk id="34" creationId="{318E7C38-890F-A49A-EB25-21A5EB24CC6F}"/>
          </ac:spMkLst>
        </pc:spChg>
        <pc:spChg chg="add del mod">
          <ac:chgData name="Ewen Trafford" userId="e520b4bf-a196-48b7-bc10-b1590a457daa" providerId="ADAL" clId="{75BD9163-2850-4C92-9406-028FF371C393}" dt="2022-11-04T11:22:11.239" v="231" actId="478"/>
          <ac:spMkLst>
            <pc:docMk/>
            <pc:sldMk cId="1429771612" sldId="359"/>
            <ac:spMk id="35" creationId="{A008659C-2820-E5F5-6F1B-5B512ED82C0A}"/>
          </ac:spMkLst>
        </pc:spChg>
        <pc:spChg chg="add mod">
          <ac:chgData name="Ewen Trafford" userId="e520b4bf-a196-48b7-bc10-b1590a457daa" providerId="ADAL" clId="{75BD9163-2850-4C92-9406-028FF371C393}" dt="2022-11-04T11:24:48.868" v="255" actId="164"/>
          <ac:spMkLst>
            <pc:docMk/>
            <pc:sldMk cId="1429771612" sldId="359"/>
            <ac:spMk id="36" creationId="{4EED3542-027C-E879-64BA-F04485B8FA27}"/>
          </ac:spMkLst>
        </pc:spChg>
        <pc:spChg chg="add mod">
          <ac:chgData name="Ewen Trafford" userId="e520b4bf-a196-48b7-bc10-b1590a457daa" providerId="ADAL" clId="{75BD9163-2850-4C92-9406-028FF371C393}" dt="2022-11-04T11:24:48.868" v="255" actId="164"/>
          <ac:spMkLst>
            <pc:docMk/>
            <pc:sldMk cId="1429771612" sldId="359"/>
            <ac:spMk id="37" creationId="{34169C46-9D1E-9B3A-06D9-91746B429A26}"/>
          </ac:spMkLst>
        </pc:spChg>
        <pc:spChg chg="add mod">
          <ac:chgData name="Ewen Trafford" userId="e520b4bf-a196-48b7-bc10-b1590a457daa" providerId="ADAL" clId="{75BD9163-2850-4C92-9406-028FF371C393}" dt="2022-11-04T11:24:48.868" v="255" actId="164"/>
          <ac:spMkLst>
            <pc:docMk/>
            <pc:sldMk cId="1429771612" sldId="359"/>
            <ac:spMk id="38" creationId="{044F6850-8D50-53D5-1670-CDC4AF496C37}"/>
          </ac:spMkLst>
        </pc:spChg>
        <pc:spChg chg="add mod">
          <ac:chgData name="Ewen Trafford" userId="e520b4bf-a196-48b7-bc10-b1590a457daa" providerId="ADAL" clId="{75BD9163-2850-4C92-9406-028FF371C393}" dt="2022-11-04T11:24:48.868" v="255" actId="164"/>
          <ac:spMkLst>
            <pc:docMk/>
            <pc:sldMk cId="1429771612" sldId="359"/>
            <ac:spMk id="39" creationId="{54AE576A-22DA-E986-F0F4-7A096E280A5C}"/>
          </ac:spMkLst>
        </pc:spChg>
        <pc:spChg chg="add mod">
          <ac:chgData name="Ewen Trafford" userId="e520b4bf-a196-48b7-bc10-b1590a457daa" providerId="ADAL" clId="{75BD9163-2850-4C92-9406-028FF371C393}" dt="2022-11-04T11:24:48.868" v="255" actId="164"/>
          <ac:spMkLst>
            <pc:docMk/>
            <pc:sldMk cId="1429771612" sldId="359"/>
            <ac:spMk id="40" creationId="{B44EFC56-2707-F277-3D70-1A47B8A3A460}"/>
          </ac:spMkLst>
        </pc:spChg>
        <pc:spChg chg="add mod">
          <ac:chgData name="Ewen Trafford" userId="e520b4bf-a196-48b7-bc10-b1590a457daa" providerId="ADAL" clId="{75BD9163-2850-4C92-9406-028FF371C393}" dt="2022-11-04T11:24:48.868" v="255" actId="164"/>
          <ac:spMkLst>
            <pc:docMk/>
            <pc:sldMk cId="1429771612" sldId="359"/>
            <ac:spMk id="41" creationId="{09B73115-A02C-353C-A1CE-1586E893E9AE}"/>
          </ac:spMkLst>
        </pc:spChg>
        <pc:spChg chg="add mod">
          <ac:chgData name="Ewen Trafford" userId="e520b4bf-a196-48b7-bc10-b1590a457daa" providerId="ADAL" clId="{75BD9163-2850-4C92-9406-028FF371C393}" dt="2022-11-04T11:24:48.868" v="255" actId="164"/>
          <ac:spMkLst>
            <pc:docMk/>
            <pc:sldMk cId="1429771612" sldId="359"/>
            <ac:spMk id="42" creationId="{0EF0B6DF-C054-3E27-545E-09B3723813BA}"/>
          </ac:spMkLst>
        </pc:spChg>
        <pc:spChg chg="add mod">
          <ac:chgData name="Ewen Trafford" userId="e520b4bf-a196-48b7-bc10-b1590a457daa" providerId="ADAL" clId="{75BD9163-2850-4C92-9406-028FF371C393}" dt="2022-11-04T11:24:48.868" v="255" actId="164"/>
          <ac:spMkLst>
            <pc:docMk/>
            <pc:sldMk cId="1429771612" sldId="359"/>
            <ac:spMk id="43" creationId="{EADB889A-0F30-BAFA-CC77-D02946324514}"/>
          </ac:spMkLst>
        </pc:spChg>
        <pc:spChg chg="add mod">
          <ac:chgData name="Ewen Trafford" userId="e520b4bf-a196-48b7-bc10-b1590a457daa" providerId="ADAL" clId="{75BD9163-2850-4C92-9406-028FF371C393}" dt="2022-11-04T11:24:48.868" v="255" actId="164"/>
          <ac:spMkLst>
            <pc:docMk/>
            <pc:sldMk cId="1429771612" sldId="359"/>
            <ac:spMk id="44" creationId="{78B1C01A-E49F-8CB5-E5A8-24F64D7C6E66}"/>
          </ac:spMkLst>
        </pc:spChg>
        <pc:spChg chg="add mod">
          <ac:chgData name="Ewen Trafford" userId="e520b4bf-a196-48b7-bc10-b1590a457daa" providerId="ADAL" clId="{75BD9163-2850-4C92-9406-028FF371C393}" dt="2022-11-04T11:24:48.868" v="255" actId="164"/>
          <ac:spMkLst>
            <pc:docMk/>
            <pc:sldMk cId="1429771612" sldId="359"/>
            <ac:spMk id="45" creationId="{F315629D-4E09-83C5-7C3A-AE8DD98B6E68}"/>
          </ac:spMkLst>
        </pc:spChg>
        <pc:spChg chg="add mod">
          <ac:chgData name="Ewen Trafford" userId="e520b4bf-a196-48b7-bc10-b1590a457daa" providerId="ADAL" clId="{75BD9163-2850-4C92-9406-028FF371C393}" dt="2022-11-04T11:24:48.868" v="255" actId="164"/>
          <ac:spMkLst>
            <pc:docMk/>
            <pc:sldMk cId="1429771612" sldId="359"/>
            <ac:spMk id="46" creationId="{E64EA221-6AB7-84A9-AEC9-6202E8562AB3}"/>
          </ac:spMkLst>
        </pc:spChg>
        <pc:spChg chg="add mod">
          <ac:chgData name="Ewen Trafford" userId="e520b4bf-a196-48b7-bc10-b1590a457daa" providerId="ADAL" clId="{75BD9163-2850-4C92-9406-028FF371C393}" dt="2022-11-04T11:24:48.868" v="255" actId="164"/>
          <ac:spMkLst>
            <pc:docMk/>
            <pc:sldMk cId="1429771612" sldId="359"/>
            <ac:spMk id="47" creationId="{F678882D-88A4-1A87-6FFA-71A710BCB799}"/>
          </ac:spMkLst>
        </pc:spChg>
        <pc:spChg chg="add mod">
          <ac:chgData name="Ewen Trafford" userId="e520b4bf-a196-48b7-bc10-b1590a457daa" providerId="ADAL" clId="{75BD9163-2850-4C92-9406-028FF371C393}" dt="2022-11-04T11:24:48.868" v="255" actId="164"/>
          <ac:spMkLst>
            <pc:docMk/>
            <pc:sldMk cId="1429771612" sldId="359"/>
            <ac:spMk id="48" creationId="{CE2D7ECF-D6CE-0BD6-699A-9DDDE6C9E559}"/>
          </ac:spMkLst>
        </pc:spChg>
        <pc:spChg chg="add mod">
          <ac:chgData name="Ewen Trafford" userId="e520b4bf-a196-48b7-bc10-b1590a457daa" providerId="ADAL" clId="{75BD9163-2850-4C92-9406-028FF371C393}" dt="2022-11-04T11:24:48.868" v="255" actId="164"/>
          <ac:spMkLst>
            <pc:docMk/>
            <pc:sldMk cId="1429771612" sldId="359"/>
            <ac:spMk id="49" creationId="{F69F5A48-84A8-C2D8-4B27-D56EB4709D51}"/>
          </ac:spMkLst>
        </pc:spChg>
        <pc:spChg chg="add mod">
          <ac:chgData name="Ewen Trafford" userId="e520b4bf-a196-48b7-bc10-b1590a457daa" providerId="ADAL" clId="{75BD9163-2850-4C92-9406-028FF371C393}" dt="2022-11-04T11:24:48.868" v="255" actId="164"/>
          <ac:spMkLst>
            <pc:docMk/>
            <pc:sldMk cId="1429771612" sldId="359"/>
            <ac:spMk id="50" creationId="{249A9EEE-0FB7-B0AD-5B65-87446DFBFE11}"/>
          </ac:spMkLst>
        </pc:spChg>
        <pc:spChg chg="add mod">
          <ac:chgData name="Ewen Trafford" userId="e520b4bf-a196-48b7-bc10-b1590a457daa" providerId="ADAL" clId="{75BD9163-2850-4C92-9406-028FF371C393}" dt="2022-11-04T11:24:48.868" v="255" actId="164"/>
          <ac:spMkLst>
            <pc:docMk/>
            <pc:sldMk cId="1429771612" sldId="359"/>
            <ac:spMk id="51" creationId="{889F71AF-4469-D598-FF51-999A629BE9C6}"/>
          </ac:spMkLst>
        </pc:spChg>
        <pc:spChg chg="add mod">
          <ac:chgData name="Ewen Trafford" userId="e520b4bf-a196-48b7-bc10-b1590a457daa" providerId="ADAL" clId="{75BD9163-2850-4C92-9406-028FF371C393}" dt="2022-11-04T11:24:48.868" v="255" actId="164"/>
          <ac:spMkLst>
            <pc:docMk/>
            <pc:sldMk cId="1429771612" sldId="359"/>
            <ac:spMk id="52" creationId="{A7E6AE42-BF2A-F53E-39B6-E716865E3075}"/>
          </ac:spMkLst>
        </pc:spChg>
        <pc:spChg chg="add mod">
          <ac:chgData name="Ewen Trafford" userId="e520b4bf-a196-48b7-bc10-b1590a457daa" providerId="ADAL" clId="{75BD9163-2850-4C92-9406-028FF371C393}" dt="2022-11-04T11:24:48.868" v="255" actId="164"/>
          <ac:spMkLst>
            <pc:docMk/>
            <pc:sldMk cId="1429771612" sldId="359"/>
            <ac:spMk id="53" creationId="{064514A3-E0F3-ACD5-A3D5-AF6FD97DA4FA}"/>
          </ac:spMkLst>
        </pc:spChg>
        <pc:spChg chg="add mod">
          <ac:chgData name="Ewen Trafford" userId="e520b4bf-a196-48b7-bc10-b1590a457daa" providerId="ADAL" clId="{75BD9163-2850-4C92-9406-028FF371C393}" dt="2022-11-04T11:24:48.868" v="255" actId="164"/>
          <ac:spMkLst>
            <pc:docMk/>
            <pc:sldMk cId="1429771612" sldId="359"/>
            <ac:spMk id="54" creationId="{D884FC78-F5AF-7D25-9ACD-FAD6FF8FC656}"/>
          </ac:spMkLst>
        </pc:spChg>
        <pc:spChg chg="add mod">
          <ac:chgData name="Ewen Trafford" userId="e520b4bf-a196-48b7-bc10-b1590a457daa" providerId="ADAL" clId="{75BD9163-2850-4C92-9406-028FF371C393}" dt="2022-11-04T11:24:48.868" v="255" actId="164"/>
          <ac:spMkLst>
            <pc:docMk/>
            <pc:sldMk cId="1429771612" sldId="359"/>
            <ac:spMk id="55" creationId="{D0E83AE8-1E1D-C5CB-6D92-759CAA43928A}"/>
          </ac:spMkLst>
        </pc:spChg>
        <pc:spChg chg="add mod">
          <ac:chgData name="Ewen Trafford" userId="e520b4bf-a196-48b7-bc10-b1590a457daa" providerId="ADAL" clId="{75BD9163-2850-4C92-9406-028FF371C393}" dt="2022-11-04T11:24:48.868" v="255" actId="164"/>
          <ac:spMkLst>
            <pc:docMk/>
            <pc:sldMk cId="1429771612" sldId="359"/>
            <ac:spMk id="56" creationId="{4435B808-1236-39B5-5795-38628D9B2EBC}"/>
          </ac:spMkLst>
        </pc:spChg>
        <pc:spChg chg="add mod">
          <ac:chgData name="Ewen Trafford" userId="e520b4bf-a196-48b7-bc10-b1590a457daa" providerId="ADAL" clId="{75BD9163-2850-4C92-9406-028FF371C393}" dt="2022-11-04T11:24:48.868" v="255" actId="164"/>
          <ac:spMkLst>
            <pc:docMk/>
            <pc:sldMk cId="1429771612" sldId="359"/>
            <ac:spMk id="57" creationId="{2F5956C7-AB11-B277-62D4-142DECEF604F}"/>
          </ac:spMkLst>
        </pc:spChg>
        <pc:spChg chg="add mod">
          <ac:chgData name="Ewen Trafford" userId="e520b4bf-a196-48b7-bc10-b1590a457daa" providerId="ADAL" clId="{75BD9163-2850-4C92-9406-028FF371C393}" dt="2022-11-04T11:24:48.868" v="255" actId="164"/>
          <ac:spMkLst>
            <pc:docMk/>
            <pc:sldMk cId="1429771612" sldId="359"/>
            <ac:spMk id="58" creationId="{89E09164-817B-0A9D-F589-CD0A63142D8A}"/>
          </ac:spMkLst>
        </pc:spChg>
        <pc:spChg chg="add mod">
          <ac:chgData name="Ewen Trafford" userId="e520b4bf-a196-48b7-bc10-b1590a457daa" providerId="ADAL" clId="{75BD9163-2850-4C92-9406-028FF371C393}" dt="2022-11-04T11:24:48.868" v="255" actId="164"/>
          <ac:spMkLst>
            <pc:docMk/>
            <pc:sldMk cId="1429771612" sldId="359"/>
            <ac:spMk id="59" creationId="{C3498207-EDBB-81B8-156E-33FA6E997A1C}"/>
          </ac:spMkLst>
        </pc:spChg>
        <pc:spChg chg="add del">
          <ac:chgData name="Ewen Trafford" userId="e520b4bf-a196-48b7-bc10-b1590a457daa" providerId="ADAL" clId="{75BD9163-2850-4C92-9406-028FF371C393}" dt="2022-11-04T11:23:33.052" v="244" actId="11529"/>
          <ac:spMkLst>
            <pc:docMk/>
            <pc:sldMk cId="1429771612" sldId="359"/>
            <ac:spMk id="60" creationId="{62D35FB9-24AE-9E49-BE88-34E0190BC9C2}"/>
          </ac:spMkLst>
        </pc:spChg>
        <pc:spChg chg="add mod">
          <ac:chgData name="Ewen Trafford" userId="e520b4bf-a196-48b7-bc10-b1590a457daa" providerId="ADAL" clId="{75BD9163-2850-4C92-9406-028FF371C393}" dt="2022-11-04T11:24:48.868" v="255" actId="164"/>
          <ac:spMkLst>
            <pc:docMk/>
            <pc:sldMk cId="1429771612" sldId="359"/>
            <ac:spMk id="61" creationId="{099B37E9-1791-B992-A78F-3F140DF0AEF6}"/>
          </ac:spMkLst>
        </pc:spChg>
        <pc:spChg chg="add mod">
          <ac:chgData name="Ewen Trafford" userId="e520b4bf-a196-48b7-bc10-b1590a457daa" providerId="ADAL" clId="{75BD9163-2850-4C92-9406-028FF371C393}" dt="2022-11-04T11:24:48.868" v="255" actId="164"/>
          <ac:spMkLst>
            <pc:docMk/>
            <pc:sldMk cId="1429771612" sldId="359"/>
            <ac:spMk id="62" creationId="{91BD4B0A-6E97-5EEA-F079-E452CD4CF79C}"/>
          </ac:spMkLst>
        </pc:spChg>
        <pc:spChg chg="add mod">
          <ac:chgData name="Ewen Trafford" userId="e520b4bf-a196-48b7-bc10-b1590a457daa" providerId="ADAL" clId="{75BD9163-2850-4C92-9406-028FF371C393}" dt="2022-11-04T11:24:48.868" v="255" actId="164"/>
          <ac:spMkLst>
            <pc:docMk/>
            <pc:sldMk cId="1429771612" sldId="359"/>
            <ac:spMk id="63" creationId="{0ABA28B4-936B-B3DE-DA7C-3FBC6986AE4D}"/>
          </ac:spMkLst>
        </pc:spChg>
        <pc:spChg chg="add mod">
          <ac:chgData name="Ewen Trafford" userId="e520b4bf-a196-48b7-bc10-b1590a457daa" providerId="ADAL" clId="{75BD9163-2850-4C92-9406-028FF371C393}" dt="2022-11-04T11:24:48.868" v="255" actId="164"/>
          <ac:spMkLst>
            <pc:docMk/>
            <pc:sldMk cId="1429771612" sldId="359"/>
            <ac:spMk id="64" creationId="{5112964D-6AF5-C6B2-CFA1-86E5F445F075}"/>
          </ac:spMkLst>
        </pc:spChg>
        <pc:spChg chg="add mod">
          <ac:chgData name="Ewen Trafford" userId="e520b4bf-a196-48b7-bc10-b1590a457daa" providerId="ADAL" clId="{75BD9163-2850-4C92-9406-028FF371C393}" dt="2022-11-04T11:24:48.868" v="255" actId="164"/>
          <ac:spMkLst>
            <pc:docMk/>
            <pc:sldMk cId="1429771612" sldId="359"/>
            <ac:spMk id="65" creationId="{0C5BF06F-25B4-3697-2A62-35951262AC1E}"/>
          </ac:spMkLst>
        </pc:spChg>
        <pc:spChg chg="add mod">
          <ac:chgData name="Ewen Trafford" userId="e520b4bf-a196-48b7-bc10-b1590a457daa" providerId="ADAL" clId="{75BD9163-2850-4C92-9406-028FF371C393}" dt="2022-11-04T11:24:48.868" v="255" actId="164"/>
          <ac:spMkLst>
            <pc:docMk/>
            <pc:sldMk cId="1429771612" sldId="359"/>
            <ac:spMk id="66" creationId="{F51FC75C-CD69-39BE-9C61-9C82EC62B517}"/>
          </ac:spMkLst>
        </pc:spChg>
        <pc:spChg chg="add mod">
          <ac:chgData name="Ewen Trafford" userId="e520b4bf-a196-48b7-bc10-b1590a457daa" providerId="ADAL" clId="{75BD9163-2850-4C92-9406-028FF371C393}" dt="2022-11-04T11:24:48.868" v="255" actId="164"/>
          <ac:spMkLst>
            <pc:docMk/>
            <pc:sldMk cId="1429771612" sldId="359"/>
            <ac:spMk id="67" creationId="{EB4BAA59-FC56-0661-61D0-D0A2192B602D}"/>
          </ac:spMkLst>
        </pc:spChg>
        <pc:spChg chg="add mod">
          <ac:chgData name="Ewen Trafford" userId="e520b4bf-a196-48b7-bc10-b1590a457daa" providerId="ADAL" clId="{75BD9163-2850-4C92-9406-028FF371C393}" dt="2022-11-04T11:24:48.868" v="255" actId="164"/>
          <ac:spMkLst>
            <pc:docMk/>
            <pc:sldMk cId="1429771612" sldId="359"/>
            <ac:spMk id="68" creationId="{069D8F68-E365-BEBC-6DFE-7FEB6744B0DB}"/>
          </ac:spMkLst>
        </pc:spChg>
        <pc:spChg chg="add mod">
          <ac:chgData name="Ewen Trafford" userId="e520b4bf-a196-48b7-bc10-b1590a457daa" providerId="ADAL" clId="{75BD9163-2850-4C92-9406-028FF371C393}" dt="2022-11-04T11:24:48.868" v="255" actId="164"/>
          <ac:spMkLst>
            <pc:docMk/>
            <pc:sldMk cId="1429771612" sldId="359"/>
            <ac:spMk id="69" creationId="{521DAFED-AF0B-9E6B-3C7E-BF1D087B563A}"/>
          </ac:spMkLst>
        </pc:spChg>
        <pc:spChg chg="add mod">
          <ac:chgData name="Ewen Trafford" userId="e520b4bf-a196-48b7-bc10-b1590a457daa" providerId="ADAL" clId="{75BD9163-2850-4C92-9406-028FF371C393}" dt="2022-11-04T11:24:48.868" v="255" actId="164"/>
          <ac:spMkLst>
            <pc:docMk/>
            <pc:sldMk cId="1429771612" sldId="359"/>
            <ac:spMk id="70" creationId="{93F6E703-AC9A-622F-FA1C-6E40F65341BB}"/>
          </ac:spMkLst>
        </pc:spChg>
        <pc:spChg chg="add mod">
          <ac:chgData name="Ewen Trafford" userId="e520b4bf-a196-48b7-bc10-b1590a457daa" providerId="ADAL" clId="{75BD9163-2850-4C92-9406-028FF371C393}" dt="2022-11-04T11:27:02.832" v="549" actId="14100"/>
          <ac:spMkLst>
            <pc:docMk/>
            <pc:sldMk cId="1429771612" sldId="359"/>
            <ac:spMk id="72" creationId="{440AFB0F-301D-0ADC-914B-E5228CD281EA}"/>
          </ac:spMkLst>
        </pc:spChg>
        <pc:spChg chg="add mod">
          <ac:chgData name="Ewen Trafford" userId="e520b4bf-a196-48b7-bc10-b1590a457daa" providerId="ADAL" clId="{75BD9163-2850-4C92-9406-028FF371C393}" dt="2022-11-04T11:27:08.840" v="550" actId="1076"/>
          <ac:spMkLst>
            <pc:docMk/>
            <pc:sldMk cId="1429771612" sldId="359"/>
            <ac:spMk id="73" creationId="{C4231D9E-A013-2C18-3739-E5BA2CA03D5F}"/>
          </ac:spMkLst>
        </pc:spChg>
        <pc:spChg chg="add mod">
          <ac:chgData name="Ewen Trafford" userId="e520b4bf-a196-48b7-bc10-b1590a457daa" providerId="ADAL" clId="{75BD9163-2850-4C92-9406-028FF371C393}" dt="2022-11-04T11:26:55.753" v="547" actId="1076"/>
          <ac:spMkLst>
            <pc:docMk/>
            <pc:sldMk cId="1429771612" sldId="359"/>
            <ac:spMk id="74" creationId="{09D01021-1BDB-38F4-8FE9-1EEB1480A260}"/>
          </ac:spMkLst>
        </pc:spChg>
        <pc:grpChg chg="add mod">
          <ac:chgData name="Ewen Trafford" userId="e520b4bf-a196-48b7-bc10-b1590a457daa" providerId="ADAL" clId="{75BD9163-2850-4C92-9406-028FF371C393}" dt="2022-11-04T11:24:57.527" v="257" actId="1076"/>
          <ac:grpSpMkLst>
            <pc:docMk/>
            <pc:sldMk cId="1429771612" sldId="359"/>
            <ac:grpSpMk id="71" creationId="{65430E7D-294F-D147-886E-48C50BD08C3F}"/>
          </ac:grpSpMkLst>
        </pc:grpChg>
      </pc:sldChg>
      <pc:sldChg chg="addSp delSp modSp mod">
        <pc:chgData name="Ewen Trafford" userId="e520b4bf-a196-48b7-bc10-b1590a457daa" providerId="ADAL" clId="{75BD9163-2850-4C92-9406-028FF371C393}" dt="2022-11-04T10:50:34.294" v="84" actId="1076"/>
        <pc:sldMkLst>
          <pc:docMk/>
          <pc:sldMk cId="784807198" sldId="360"/>
        </pc:sldMkLst>
        <pc:spChg chg="mod">
          <ac:chgData name="Ewen Trafford" userId="e520b4bf-a196-48b7-bc10-b1590a457daa" providerId="ADAL" clId="{75BD9163-2850-4C92-9406-028FF371C393}" dt="2022-11-01T08:39:02.801" v="37" actId="20577"/>
          <ac:spMkLst>
            <pc:docMk/>
            <pc:sldMk cId="784807198" sldId="360"/>
            <ac:spMk id="3" creationId="{6602F20C-0E64-8D95-473B-01C0F69999B0}"/>
          </ac:spMkLst>
        </pc:spChg>
        <pc:picChg chg="del">
          <ac:chgData name="Ewen Trafford" userId="e520b4bf-a196-48b7-bc10-b1590a457daa" providerId="ADAL" clId="{75BD9163-2850-4C92-9406-028FF371C393}" dt="2022-11-04T10:50:14.742" v="77" actId="478"/>
          <ac:picMkLst>
            <pc:docMk/>
            <pc:sldMk cId="784807198" sldId="360"/>
            <ac:picMk id="4" creationId="{5E847C73-ED7F-79BC-560D-15904BA967D6}"/>
          </ac:picMkLst>
        </pc:picChg>
        <pc:picChg chg="add mod">
          <ac:chgData name="Ewen Trafford" userId="e520b4bf-a196-48b7-bc10-b1590a457daa" providerId="ADAL" clId="{75BD9163-2850-4C92-9406-028FF371C393}" dt="2022-11-04T10:50:34.294" v="84" actId="1076"/>
          <ac:picMkLst>
            <pc:docMk/>
            <pc:sldMk cId="784807198" sldId="360"/>
            <ac:picMk id="6" creationId="{863CC1F9-C241-AA44-82F1-32C62DCF2ADE}"/>
          </ac:picMkLst>
        </pc:picChg>
      </pc:sldChg>
      <pc:sldChg chg="addSp delSp modSp mod">
        <pc:chgData name="Ewen Trafford" userId="e520b4bf-a196-48b7-bc10-b1590a457daa" providerId="ADAL" clId="{75BD9163-2850-4C92-9406-028FF371C393}" dt="2022-11-04T10:51:12.815" v="93" actId="14100"/>
        <pc:sldMkLst>
          <pc:docMk/>
          <pc:sldMk cId="1265359501" sldId="361"/>
        </pc:sldMkLst>
        <pc:spChg chg="mod">
          <ac:chgData name="Ewen Trafford" userId="e520b4bf-a196-48b7-bc10-b1590a457daa" providerId="ADAL" clId="{75BD9163-2850-4C92-9406-028FF371C393}" dt="2022-11-01T08:39:29.120" v="42" actId="207"/>
          <ac:spMkLst>
            <pc:docMk/>
            <pc:sldMk cId="1265359501" sldId="361"/>
            <ac:spMk id="3" creationId="{872F444F-7B3C-AF72-BFEB-B0FA36FEBB9D}"/>
          </ac:spMkLst>
        </pc:spChg>
        <pc:spChg chg="del mod">
          <ac:chgData name="Ewen Trafford" userId="e520b4bf-a196-48b7-bc10-b1590a457daa" providerId="ADAL" clId="{75BD9163-2850-4C92-9406-028FF371C393}" dt="2022-11-04T10:51:00.353" v="88" actId="478"/>
          <ac:spMkLst>
            <pc:docMk/>
            <pc:sldMk cId="1265359501" sldId="361"/>
            <ac:spMk id="5" creationId="{45D95FBC-AAA8-FCEA-724C-B0DE3B0198E7}"/>
          </ac:spMkLst>
        </pc:spChg>
        <pc:picChg chg="add mod">
          <ac:chgData name="Ewen Trafford" userId="e520b4bf-a196-48b7-bc10-b1590a457daa" providerId="ADAL" clId="{75BD9163-2850-4C92-9406-028FF371C393}" dt="2022-11-04T10:51:12.815" v="93" actId="14100"/>
          <ac:picMkLst>
            <pc:docMk/>
            <pc:sldMk cId="1265359501" sldId="361"/>
            <ac:picMk id="6" creationId="{149111A2-DD3E-1D35-19FB-6B0AB8E82290}"/>
          </ac:picMkLst>
        </pc:picChg>
        <pc:picChg chg="del mod">
          <ac:chgData name="Ewen Trafford" userId="e520b4bf-a196-48b7-bc10-b1590a457daa" providerId="ADAL" clId="{75BD9163-2850-4C92-9406-028FF371C393}" dt="2022-11-04T10:50:59.512" v="86" actId="478"/>
          <ac:picMkLst>
            <pc:docMk/>
            <pc:sldMk cId="1265359501" sldId="361"/>
            <ac:picMk id="1026" creationId="{A3E67495-964A-074E-1472-A448E339B16F}"/>
          </ac:picMkLst>
        </pc:picChg>
      </pc:sldChg>
      <pc:sldChg chg="addSp delSp modSp mod">
        <pc:chgData name="Ewen Trafford" userId="e520b4bf-a196-48b7-bc10-b1590a457daa" providerId="ADAL" clId="{75BD9163-2850-4C92-9406-028FF371C393}" dt="2022-11-04T10:51:49.680" v="100" actId="1076"/>
        <pc:sldMkLst>
          <pc:docMk/>
          <pc:sldMk cId="1559760123" sldId="362"/>
        </pc:sldMkLst>
        <pc:picChg chg="del">
          <ac:chgData name="Ewen Trafford" userId="e520b4bf-a196-48b7-bc10-b1590a457daa" providerId="ADAL" clId="{75BD9163-2850-4C92-9406-028FF371C393}" dt="2022-11-04T10:51:38.468" v="94" actId="478"/>
          <ac:picMkLst>
            <pc:docMk/>
            <pc:sldMk cId="1559760123" sldId="362"/>
            <ac:picMk id="4" creationId="{E4FAE170-7852-907D-6A06-FE84A3C01CF2}"/>
          </ac:picMkLst>
        </pc:picChg>
        <pc:picChg chg="add mod">
          <ac:chgData name="Ewen Trafford" userId="e520b4bf-a196-48b7-bc10-b1590a457daa" providerId="ADAL" clId="{75BD9163-2850-4C92-9406-028FF371C393}" dt="2022-11-04T10:51:49.680" v="100" actId="1076"/>
          <ac:picMkLst>
            <pc:docMk/>
            <pc:sldMk cId="1559760123" sldId="362"/>
            <ac:picMk id="6" creationId="{AE0DE7AC-6059-90B1-21B9-97D3357B75CA}"/>
          </ac:picMkLst>
        </pc:picChg>
      </pc:sldChg>
      <pc:sldChg chg="addSp delSp modSp mod">
        <pc:chgData name="Ewen Trafford" userId="e520b4bf-a196-48b7-bc10-b1590a457daa" providerId="ADAL" clId="{75BD9163-2850-4C92-9406-028FF371C393}" dt="2022-11-04T10:56:09.640" v="131" actId="478"/>
        <pc:sldMkLst>
          <pc:docMk/>
          <pc:sldMk cId="4129383999" sldId="365"/>
        </pc:sldMkLst>
        <pc:spChg chg="mod">
          <ac:chgData name="Ewen Trafford" userId="e520b4bf-a196-48b7-bc10-b1590a457daa" providerId="ADAL" clId="{75BD9163-2850-4C92-9406-028FF371C393}" dt="2022-11-04T10:55:39.656" v="125" actId="14100"/>
          <ac:spMkLst>
            <pc:docMk/>
            <pc:sldMk cId="4129383999" sldId="365"/>
            <ac:spMk id="3" creationId="{9CB05283-A066-7E49-733F-F36B714927DE}"/>
          </ac:spMkLst>
        </pc:spChg>
        <pc:spChg chg="mod">
          <ac:chgData name="Ewen Trafford" userId="e520b4bf-a196-48b7-bc10-b1590a457daa" providerId="ADAL" clId="{75BD9163-2850-4C92-9406-028FF371C393}" dt="2022-11-04T10:55:36.835" v="124" actId="14100"/>
          <ac:spMkLst>
            <pc:docMk/>
            <pc:sldMk cId="4129383999" sldId="365"/>
            <ac:spMk id="4" creationId="{70A471B7-7FEE-286F-1E68-5FF89C0B60B2}"/>
          </ac:spMkLst>
        </pc:spChg>
        <pc:spChg chg="mod">
          <ac:chgData name="Ewen Trafford" userId="e520b4bf-a196-48b7-bc10-b1590a457daa" providerId="ADAL" clId="{75BD9163-2850-4C92-9406-028FF371C393}" dt="2022-11-04T10:54:58.427" v="117" actId="20577"/>
          <ac:spMkLst>
            <pc:docMk/>
            <pc:sldMk cId="4129383999" sldId="365"/>
            <ac:spMk id="5" creationId="{3E25507F-139A-7679-960E-739A9220476B}"/>
          </ac:spMkLst>
        </pc:spChg>
        <pc:spChg chg="del">
          <ac:chgData name="Ewen Trafford" userId="e520b4bf-a196-48b7-bc10-b1590a457daa" providerId="ADAL" clId="{75BD9163-2850-4C92-9406-028FF371C393}" dt="2022-11-04T10:56:09.640" v="131" actId="478"/>
          <ac:spMkLst>
            <pc:docMk/>
            <pc:sldMk cId="4129383999" sldId="365"/>
            <ac:spMk id="6" creationId="{34AE502C-831B-A560-1B3D-C660C7A7A209}"/>
          </ac:spMkLst>
        </pc:spChg>
        <pc:picChg chg="add mod modCrop">
          <ac:chgData name="Ewen Trafford" userId="e520b4bf-a196-48b7-bc10-b1590a457daa" providerId="ADAL" clId="{75BD9163-2850-4C92-9406-028FF371C393}" dt="2022-11-04T10:53:58.052" v="107" actId="14100"/>
          <ac:picMkLst>
            <pc:docMk/>
            <pc:sldMk cId="4129383999" sldId="365"/>
            <ac:picMk id="8" creationId="{902B27AF-54CF-D6E5-23C4-69E280635938}"/>
          </ac:picMkLst>
        </pc:picChg>
        <pc:picChg chg="add mod modCrop">
          <ac:chgData name="Ewen Trafford" userId="e520b4bf-a196-48b7-bc10-b1590a457daa" providerId="ADAL" clId="{75BD9163-2850-4C92-9406-028FF371C393}" dt="2022-11-04T10:54:40.983" v="114" actId="732"/>
          <ac:picMkLst>
            <pc:docMk/>
            <pc:sldMk cId="4129383999" sldId="365"/>
            <ac:picMk id="10" creationId="{75F2FF7C-3C42-D996-E88B-2435B3A66FC1}"/>
          </ac:picMkLst>
        </pc:picChg>
        <pc:picChg chg="add mod modCrop">
          <ac:chgData name="Ewen Trafford" userId="e520b4bf-a196-48b7-bc10-b1590a457daa" providerId="ADAL" clId="{75BD9163-2850-4C92-9406-028FF371C393}" dt="2022-11-04T10:56:04.692" v="130" actId="732"/>
          <ac:picMkLst>
            <pc:docMk/>
            <pc:sldMk cId="4129383999" sldId="365"/>
            <ac:picMk id="12" creationId="{38E5342D-AED6-7CFC-9F93-C4A7659811D7}"/>
          </ac:picMkLst>
        </pc:picChg>
      </pc:sldChg>
      <pc:sldChg chg="addSp delSp modSp mod addCm delCm">
        <pc:chgData name="Ewen Trafford" userId="e520b4bf-a196-48b7-bc10-b1590a457daa" providerId="ADAL" clId="{75BD9163-2850-4C92-9406-028FF371C393}" dt="2022-11-08T13:36:17.595" v="551"/>
        <pc:sldMkLst>
          <pc:docMk/>
          <pc:sldMk cId="1446335801" sldId="366"/>
        </pc:sldMkLst>
        <pc:spChg chg="mod">
          <ac:chgData name="Ewen Trafford" userId="e520b4bf-a196-48b7-bc10-b1590a457daa" providerId="ADAL" clId="{75BD9163-2850-4C92-9406-028FF371C393}" dt="2022-11-01T08:41:13.818" v="54" actId="13926"/>
          <ac:spMkLst>
            <pc:docMk/>
            <pc:sldMk cId="1446335801" sldId="366"/>
            <ac:spMk id="3" creationId="{C5155838-FA10-23A4-D2AB-128F173436D0}"/>
          </ac:spMkLst>
        </pc:spChg>
        <pc:picChg chg="del">
          <ac:chgData name="Ewen Trafford" userId="e520b4bf-a196-48b7-bc10-b1590a457daa" providerId="ADAL" clId="{75BD9163-2850-4C92-9406-028FF371C393}" dt="2022-11-04T10:56:47.452" v="132" actId="478"/>
          <ac:picMkLst>
            <pc:docMk/>
            <pc:sldMk cId="1446335801" sldId="366"/>
            <ac:picMk id="4" creationId="{E4FAE170-7852-907D-6A06-FE84A3C01CF2}"/>
          </ac:picMkLst>
        </pc:picChg>
        <pc:picChg chg="add mod">
          <ac:chgData name="Ewen Trafford" userId="e520b4bf-a196-48b7-bc10-b1590a457daa" providerId="ADAL" clId="{75BD9163-2850-4C92-9406-028FF371C393}" dt="2022-11-04T10:56:48.473" v="133"/>
          <ac:picMkLst>
            <pc:docMk/>
            <pc:sldMk cId="1446335801" sldId="366"/>
            <ac:picMk id="5" creationId="{41FCB276-0605-8F2C-8ED9-C501B04CD34E}"/>
          </ac:picMkLst>
        </pc:picChg>
      </pc:sldChg>
      <pc:sldChg chg="delSp modSp mod delCm">
        <pc:chgData name="Ewen Trafford" userId="e520b4bf-a196-48b7-bc10-b1590a457daa" providerId="ADAL" clId="{75BD9163-2850-4C92-9406-028FF371C393}" dt="2022-11-01T08:40:45.458" v="53" actId="2165"/>
        <pc:sldMkLst>
          <pc:docMk/>
          <pc:sldMk cId="1979304561" sldId="367"/>
        </pc:sldMkLst>
        <pc:spChg chg="del">
          <ac:chgData name="Ewen Trafford" userId="e520b4bf-a196-48b7-bc10-b1590a457daa" providerId="ADAL" clId="{75BD9163-2850-4C92-9406-028FF371C393}" dt="2022-11-01T08:40:27.526" v="50" actId="478"/>
          <ac:spMkLst>
            <pc:docMk/>
            <pc:sldMk cId="1979304561" sldId="367"/>
            <ac:spMk id="3" creationId="{F125752D-9A62-EC8F-B592-EBFBCA644C0A}"/>
          </ac:spMkLst>
        </pc:spChg>
        <pc:graphicFrameChg chg="modGraphic">
          <ac:chgData name="Ewen Trafford" userId="e520b4bf-a196-48b7-bc10-b1590a457daa" providerId="ADAL" clId="{75BD9163-2850-4C92-9406-028FF371C393}" dt="2022-11-01T08:40:45.458" v="53" actId="2165"/>
          <ac:graphicFrameMkLst>
            <pc:docMk/>
            <pc:sldMk cId="1979304561" sldId="367"/>
            <ac:graphicFrameMk id="4" creationId="{852C40F4-3A0C-2C57-5C1A-53EF072895F3}"/>
          </ac:graphicFrameMkLst>
        </pc:graphicFrameChg>
      </pc:sldChg>
      <pc:sldChg chg="addSp delSp modSp mod addAnim delAnim modAnim">
        <pc:chgData name="Ewen Trafford" userId="e520b4bf-a196-48b7-bc10-b1590a457daa" providerId="ADAL" clId="{75BD9163-2850-4C92-9406-028FF371C393}" dt="2022-11-08T15:43:22.655" v="1202" actId="14100"/>
        <pc:sldMkLst>
          <pc:docMk/>
          <pc:sldMk cId="3869903968" sldId="368"/>
        </pc:sldMkLst>
        <pc:spChg chg="del mod">
          <ac:chgData name="Ewen Trafford" userId="e520b4bf-a196-48b7-bc10-b1590a457daa" providerId="ADAL" clId="{75BD9163-2850-4C92-9406-028FF371C393}" dt="2022-11-08T14:09:53.103" v="607" actId="478"/>
          <ac:spMkLst>
            <pc:docMk/>
            <pc:sldMk cId="3869903968" sldId="368"/>
            <ac:spMk id="3" creationId="{51A1CE46-A353-88D0-6CE3-615D83403C23}"/>
          </ac:spMkLst>
        </pc:spChg>
        <pc:spChg chg="add del mod">
          <ac:chgData name="Ewen Trafford" userId="e520b4bf-a196-48b7-bc10-b1590a457daa" providerId="ADAL" clId="{75BD9163-2850-4C92-9406-028FF371C393}" dt="2022-11-08T14:09:54.693" v="608" actId="478"/>
          <ac:spMkLst>
            <pc:docMk/>
            <pc:sldMk cId="3869903968" sldId="368"/>
            <ac:spMk id="5" creationId="{80CC361C-A3D9-9F9F-DDAB-870036CA8B82}"/>
          </ac:spMkLst>
        </pc:spChg>
        <pc:spChg chg="add del mod">
          <ac:chgData name="Ewen Trafford" userId="e520b4bf-a196-48b7-bc10-b1590a457daa" providerId="ADAL" clId="{75BD9163-2850-4C92-9406-028FF371C393}" dt="2022-11-08T14:10:12.851" v="616" actId="478"/>
          <ac:spMkLst>
            <pc:docMk/>
            <pc:sldMk cId="3869903968" sldId="368"/>
            <ac:spMk id="6" creationId="{7B1C31B2-B33A-6D83-8CBF-981AD18F9E8B}"/>
          </ac:spMkLst>
        </pc:spChg>
        <pc:spChg chg="add mod">
          <ac:chgData name="Ewen Trafford" userId="e520b4bf-a196-48b7-bc10-b1590a457daa" providerId="ADAL" clId="{75BD9163-2850-4C92-9406-028FF371C393}" dt="2022-11-08T14:09:55.169" v="609"/>
          <ac:spMkLst>
            <pc:docMk/>
            <pc:sldMk cId="3869903968" sldId="368"/>
            <ac:spMk id="7" creationId="{D2678519-BE6A-337F-AA3C-0C19337032FF}"/>
          </ac:spMkLst>
        </pc:spChg>
        <pc:spChg chg="add mod">
          <ac:chgData name="Ewen Trafford" userId="e520b4bf-a196-48b7-bc10-b1590a457daa" providerId="ADAL" clId="{75BD9163-2850-4C92-9406-028FF371C393}" dt="2022-11-08T14:09:55.169" v="609"/>
          <ac:spMkLst>
            <pc:docMk/>
            <pc:sldMk cId="3869903968" sldId="368"/>
            <ac:spMk id="8" creationId="{506FC66A-111C-6CE4-2C18-C14DCE8171A5}"/>
          </ac:spMkLst>
        </pc:spChg>
        <pc:spChg chg="add del mod">
          <ac:chgData name="Ewen Trafford" userId="e520b4bf-a196-48b7-bc10-b1590a457daa" providerId="ADAL" clId="{75BD9163-2850-4C92-9406-028FF371C393}" dt="2022-11-08T15:41:28.468" v="1189" actId="1076"/>
          <ac:spMkLst>
            <pc:docMk/>
            <pc:sldMk cId="3869903968" sldId="368"/>
            <ac:spMk id="9" creationId="{3DFE56E4-5452-665E-03BD-C225DD70181D}"/>
          </ac:spMkLst>
        </pc:spChg>
        <pc:spChg chg="add mod">
          <ac:chgData name="Ewen Trafford" userId="e520b4bf-a196-48b7-bc10-b1590a457daa" providerId="ADAL" clId="{75BD9163-2850-4C92-9406-028FF371C393}" dt="2022-11-08T15:41:28.468" v="1189" actId="1076"/>
          <ac:spMkLst>
            <pc:docMk/>
            <pc:sldMk cId="3869903968" sldId="368"/>
            <ac:spMk id="10" creationId="{AE93D599-6421-F7E0-CBA4-057CB1406970}"/>
          </ac:spMkLst>
        </pc:spChg>
        <pc:spChg chg="add del mod">
          <ac:chgData name="Ewen Trafford" userId="e520b4bf-a196-48b7-bc10-b1590a457daa" providerId="ADAL" clId="{75BD9163-2850-4C92-9406-028FF371C393}" dt="2022-11-08T14:10:02.146" v="613" actId="478"/>
          <ac:spMkLst>
            <pc:docMk/>
            <pc:sldMk cId="3869903968" sldId="368"/>
            <ac:spMk id="12" creationId="{7F435DB1-4422-02FF-74F6-8D2E81C3FB0A}"/>
          </ac:spMkLst>
        </pc:spChg>
        <pc:spChg chg="add mod">
          <ac:chgData name="Ewen Trafford" userId="e520b4bf-a196-48b7-bc10-b1590a457daa" providerId="ADAL" clId="{75BD9163-2850-4C92-9406-028FF371C393}" dt="2022-11-08T15:41:28.468" v="1189" actId="1076"/>
          <ac:spMkLst>
            <pc:docMk/>
            <pc:sldMk cId="3869903968" sldId="368"/>
            <ac:spMk id="13" creationId="{D382B76B-4447-5181-F811-B1BE5C4C524B}"/>
          </ac:spMkLst>
        </pc:spChg>
        <pc:spChg chg="add del mod">
          <ac:chgData name="Ewen Trafford" userId="e520b4bf-a196-48b7-bc10-b1590a457daa" providerId="ADAL" clId="{75BD9163-2850-4C92-9406-028FF371C393}" dt="2022-11-08T14:10:14.746" v="617" actId="478"/>
          <ac:spMkLst>
            <pc:docMk/>
            <pc:sldMk cId="3869903968" sldId="368"/>
            <ac:spMk id="17" creationId="{2EBC6B64-FCD5-A879-CFD6-1E5BEFEC973E}"/>
          </ac:spMkLst>
        </pc:spChg>
        <pc:picChg chg="add del mod">
          <ac:chgData name="Ewen Trafford" userId="e520b4bf-a196-48b7-bc10-b1590a457daa" providerId="ADAL" clId="{75BD9163-2850-4C92-9406-028FF371C393}" dt="2022-11-08T14:10:00.468" v="612" actId="478"/>
          <ac:picMkLst>
            <pc:docMk/>
            <pc:sldMk cId="3869903968" sldId="368"/>
            <ac:picMk id="11" creationId="{6D5B7809-3CA4-6AE7-1206-BE5EF0E3445D}"/>
          </ac:picMkLst>
        </pc:picChg>
        <pc:picChg chg="add del mod">
          <ac:chgData name="Ewen Trafford" userId="e520b4bf-a196-48b7-bc10-b1590a457daa" providerId="ADAL" clId="{75BD9163-2850-4C92-9406-028FF371C393}" dt="2022-11-08T14:09:59.432" v="610" actId="478"/>
          <ac:picMkLst>
            <pc:docMk/>
            <pc:sldMk cId="3869903968" sldId="368"/>
            <ac:picMk id="14" creationId="{1CE92577-43F8-60EB-A0BA-A49048A57C39}"/>
          </ac:picMkLst>
        </pc:picChg>
        <pc:picChg chg="add del mod">
          <ac:chgData name="Ewen Trafford" userId="e520b4bf-a196-48b7-bc10-b1590a457daa" providerId="ADAL" clId="{75BD9163-2850-4C92-9406-028FF371C393}" dt="2022-11-08T14:10:00.017" v="611" actId="478"/>
          <ac:picMkLst>
            <pc:docMk/>
            <pc:sldMk cId="3869903968" sldId="368"/>
            <ac:picMk id="15" creationId="{1BD183D8-F9A6-6F3F-C219-9E9489AACC3C}"/>
          </ac:picMkLst>
        </pc:picChg>
        <pc:picChg chg="add mod">
          <ac:chgData name="Ewen Trafford" userId="e520b4bf-a196-48b7-bc10-b1590a457daa" providerId="ADAL" clId="{75BD9163-2850-4C92-9406-028FF371C393}" dt="2022-11-08T15:43:22.655" v="1202" actId="14100"/>
          <ac:picMkLst>
            <pc:docMk/>
            <pc:sldMk cId="3869903968" sldId="368"/>
            <ac:picMk id="19" creationId="{0548449E-BF9A-15DD-2880-4880C04D4907}"/>
          </ac:picMkLst>
        </pc:picChg>
        <pc:picChg chg="add mod">
          <ac:chgData name="Ewen Trafford" userId="e520b4bf-a196-48b7-bc10-b1590a457daa" providerId="ADAL" clId="{75BD9163-2850-4C92-9406-028FF371C393}" dt="2022-11-08T15:43:19.191" v="1198" actId="962"/>
          <ac:picMkLst>
            <pc:docMk/>
            <pc:sldMk cId="3869903968" sldId="368"/>
            <ac:picMk id="21" creationId="{1421926F-7841-476C-E982-1DCB451153F5}"/>
          </ac:picMkLst>
        </pc:picChg>
        <pc:picChg chg="add mod">
          <ac:chgData name="Ewen Trafford" userId="e520b4bf-a196-48b7-bc10-b1590a457daa" providerId="ADAL" clId="{75BD9163-2850-4C92-9406-028FF371C393}" dt="2022-11-08T15:43:19.559" v="1199" actId="27614"/>
          <ac:picMkLst>
            <pc:docMk/>
            <pc:sldMk cId="3869903968" sldId="368"/>
            <ac:picMk id="23" creationId="{9B4BB289-34B3-1088-A680-B3768FC69D4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95EDE-C814-4531-BA28-B0829ACBCA95}" type="datetimeFigureOut">
              <a:rPr lang="en-GB" smtClean="0"/>
              <a:t>07/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73C9BA-5544-4F63-A48C-49913C4BC280}" type="slidenum">
              <a:rPr lang="en-GB" smtClean="0"/>
              <a:t>‹#›</a:t>
            </a:fld>
            <a:endParaRPr lang="en-GB"/>
          </a:p>
        </p:txBody>
      </p:sp>
    </p:spTree>
    <p:extLst>
      <p:ext uri="{BB962C8B-B14F-4D97-AF65-F5344CB8AC3E}">
        <p14:creationId xmlns:p14="http://schemas.microsoft.com/office/powerpoint/2010/main" val="1150844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10</a:t>
            </a:fld>
            <a:endParaRPr lang="en-GB"/>
          </a:p>
        </p:txBody>
      </p:sp>
    </p:spTree>
    <p:extLst>
      <p:ext uri="{BB962C8B-B14F-4D97-AF65-F5344CB8AC3E}">
        <p14:creationId xmlns:p14="http://schemas.microsoft.com/office/powerpoint/2010/main" val="2687547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5</a:t>
            </a:fld>
            <a:endParaRPr lang="en-GB"/>
          </a:p>
        </p:txBody>
      </p:sp>
    </p:spTree>
    <p:extLst>
      <p:ext uri="{BB962C8B-B14F-4D97-AF65-F5344CB8AC3E}">
        <p14:creationId xmlns:p14="http://schemas.microsoft.com/office/powerpoint/2010/main" val="1354808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6</a:t>
            </a:fld>
            <a:endParaRPr lang="en-GB"/>
          </a:p>
        </p:txBody>
      </p:sp>
    </p:spTree>
    <p:extLst>
      <p:ext uri="{BB962C8B-B14F-4D97-AF65-F5344CB8AC3E}">
        <p14:creationId xmlns:p14="http://schemas.microsoft.com/office/powerpoint/2010/main" val="1724203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11</a:t>
            </a:fld>
            <a:endParaRPr lang="en-GB"/>
          </a:p>
        </p:txBody>
      </p:sp>
    </p:spTree>
    <p:extLst>
      <p:ext uri="{BB962C8B-B14F-4D97-AF65-F5344CB8AC3E}">
        <p14:creationId xmlns:p14="http://schemas.microsoft.com/office/powerpoint/2010/main" val="133979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12</a:t>
            </a:fld>
            <a:endParaRPr lang="en-GB"/>
          </a:p>
        </p:txBody>
      </p:sp>
    </p:spTree>
    <p:extLst>
      <p:ext uri="{BB962C8B-B14F-4D97-AF65-F5344CB8AC3E}">
        <p14:creationId xmlns:p14="http://schemas.microsoft.com/office/powerpoint/2010/main" val="2701629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13</a:t>
            </a:fld>
            <a:endParaRPr lang="en-GB"/>
          </a:p>
        </p:txBody>
      </p:sp>
    </p:spTree>
    <p:extLst>
      <p:ext uri="{BB962C8B-B14F-4D97-AF65-F5344CB8AC3E}">
        <p14:creationId xmlns:p14="http://schemas.microsoft.com/office/powerpoint/2010/main" val="3587766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121212"/>
                </a:solidFill>
                <a:effectLst/>
                <a:latin typeface="GuardianTextEgyptian"/>
              </a:rPr>
              <a:t> Clarifying - The protein coagulates in the hot liquid and rises to the surface (dragging with it any impurities. It then forms a frothy crust on the surface (called a raft) , which can be skimmed off, leaving a clear liquid in the pan.</a:t>
            </a:r>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4</a:t>
            </a:fld>
            <a:endParaRPr lang="en-GB"/>
          </a:p>
        </p:txBody>
      </p:sp>
    </p:spTree>
    <p:extLst>
      <p:ext uri="{BB962C8B-B14F-4D97-AF65-F5344CB8AC3E}">
        <p14:creationId xmlns:p14="http://schemas.microsoft.com/office/powerpoint/2010/main" val="400056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19</a:t>
            </a:fld>
            <a:endParaRPr lang="en-GB"/>
          </a:p>
        </p:txBody>
      </p:sp>
    </p:spTree>
    <p:extLst>
      <p:ext uri="{BB962C8B-B14F-4D97-AF65-F5344CB8AC3E}">
        <p14:creationId xmlns:p14="http://schemas.microsoft.com/office/powerpoint/2010/main" val="2162652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121212"/>
                </a:solidFill>
                <a:effectLst/>
                <a:latin typeface="GuardianTextEgyptian"/>
              </a:rPr>
              <a:t> Clarifying - The protein coagulates in the hot liquid and rises to the surface (dragging with it any impurities. It then forms a frothy crust on the surface (called a raft) , which can be skimmed off, leaving a clear liquid in the pan.</a:t>
            </a:r>
            <a:endParaRPr lang="en-GB"/>
          </a:p>
        </p:txBody>
      </p:sp>
      <p:sp>
        <p:nvSpPr>
          <p:cNvPr id="4" name="Slide Number Placeholder 3"/>
          <p:cNvSpPr>
            <a:spLocks noGrp="1"/>
          </p:cNvSpPr>
          <p:nvPr>
            <p:ph type="sldNum" sz="quarter" idx="5"/>
          </p:nvPr>
        </p:nvSpPr>
        <p:spPr/>
        <p:txBody>
          <a:bodyPr/>
          <a:lstStyle/>
          <a:p>
            <a:fld id="{4573C9BA-5544-4F63-A48C-49913C4BC280}" type="slidenum">
              <a:rPr lang="en-GB" smtClean="0"/>
              <a:t>22</a:t>
            </a:fld>
            <a:endParaRPr lang="en-GB"/>
          </a:p>
        </p:txBody>
      </p:sp>
    </p:spTree>
    <p:extLst>
      <p:ext uri="{BB962C8B-B14F-4D97-AF65-F5344CB8AC3E}">
        <p14:creationId xmlns:p14="http://schemas.microsoft.com/office/powerpoint/2010/main" val="21604880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3</a:t>
            </a:fld>
            <a:endParaRPr lang="en-GB"/>
          </a:p>
        </p:txBody>
      </p:sp>
    </p:spTree>
    <p:extLst>
      <p:ext uri="{BB962C8B-B14F-4D97-AF65-F5344CB8AC3E}">
        <p14:creationId xmlns:p14="http://schemas.microsoft.com/office/powerpoint/2010/main" val="3530195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4573C9BA-5544-4F63-A48C-49913C4BC280}" type="slidenum">
              <a:rPr lang="en-GB" smtClean="0"/>
              <a:t>24</a:t>
            </a:fld>
            <a:endParaRPr lang="en-GB"/>
          </a:p>
        </p:txBody>
      </p:sp>
    </p:spTree>
    <p:extLst>
      <p:ext uri="{BB962C8B-B14F-4D97-AF65-F5344CB8AC3E}">
        <p14:creationId xmlns:p14="http://schemas.microsoft.com/office/powerpoint/2010/main" val="4185970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2452" y="3531477"/>
            <a:ext cx="9144000" cy="733096"/>
          </a:xfrm>
          <a:prstGeom prst="rect">
            <a:avLst/>
          </a:prstGeom>
        </p:spPr>
        <p:txBody>
          <a:bodyPr lIns="0" tIns="0" rIns="0" bIns="0" anchor="t"/>
          <a:lstStyle>
            <a:lvl1pPr algn="l">
              <a:defRPr sz="4400" b="1" i="0" baseline="0">
                <a:solidFill>
                  <a:schemeClr val="bg1"/>
                </a:solidFill>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741072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53512" y="587760"/>
            <a:ext cx="9144000" cy="635491"/>
          </a:xfrm>
          <a:prstGeom prst="rect">
            <a:avLst/>
          </a:prstGeom>
        </p:spPr>
        <p:txBody>
          <a:bodyPr lIns="0" tIns="0" rIns="0" bIns="0" anchor="t"/>
          <a:lstStyle>
            <a:lvl1pPr algn="l">
              <a:defRPr sz="4000" b="1" i="0">
                <a:solidFill>
                  <a:srgbClr val="EF9F3F"/>
                </a:solidFill>
                <a:latin typeface="Arial" charset="0"/>
                <a:ea typeface="Arial" charset="0"/>
                <a:cs typeface="Arial" charset="0"/>
              </a:defRPr>
            </a:lvl1pPr>
          </a:lstStyle>
          <a:p>
            <a:r>
              <a:rPr lang="en-US"/>
              <a:t>Section Title</a:t>
            </a:r>
          </a:p>
        </p:txBody>
      </p:sp>
      <p:sp>
        <p:nvSpPr>
          <p:cNvPr id="3" name="Subtitle 2"/>
          <p:cNvSpPr>
            <a:spLocks noGrp="1"/>
          </p:cNvSpPr>
          <p:nvPr>
            <p:ph type="subTitle" idx="1" hasCustomPrompt="1"/>
          </p:nvPr>
        </p:nvSpPr>
        <p:spPr>
          <a:xfrm>
            <a:off x="1153512" y="3065488"/>
            <a:ext cx="9144000" cy="3087973"/>
          </a:xfrm>
          <a:prstGeom prst="rect">
            <a:avLst/>
          </a:prstGeom>
        </p:spPr>
        <p:txBody>
          <a:bodyPr lIns="0" tIns="0" rIns="0" bIns="0"/>
          <a:lstStyle>
            <a:lvl1pPr marL="285750" indent="-285750" algn="l">
              <a:buFont typeface="Arial" charset="0"/>
              <a:buChar char="•"/>
              <a:defRPr sz="1800">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a:t>
            </a:r>
          </a:p>
        </p:txBody>
      </p:sp>
    </p:spTree>
    <p:extLst>
      <p:ext uri="{BB962C8B-B14F-4D97-AF65-F5344CB8AC3E}">
        <p14:creationId xmlns:p14="http://schemas.microsoft.com/office/powerpoint/2010/main" val="823767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9274" y="1563798"/>
            <a:ext cx="9720000" cy="720000"/>
          </a:xfrm>
          <a:prstGeom prst="rect">
            <a:avLst/>
          </a:prstGeom>
        </p:spPr>
        <p:txBody>
          <a:bodyPr lIns="0" tIns="0" rIns="0" bIns="0" anchor="t"/>
          <a:lstStyle>
            <a:lvl1pPr algn="l">
              <a:defRPr sz="3400" b="1" i="0">
                <a:solidFill>
                  <a:srgbClr val="EF9F3F"/>
                </a:solidFill>
                <a:latin typeface="Arial" charset="0"/>
                <a:ea typeface="Arial" charset="0"/>
                <a:cs typeface="Arial" charset="0"/>
              </a:defRPr>
            </a:lvl1pPr>
          </a:lstStyle>
          <a:p>
            <a:r>
              <a:rPr lang="en-US"/>
              <a:t>Heading</a:t>
            </a:r>
          </a:p>
        </p:txBody>
      </p:sp>
      <p:sp>
        <p:nvSpPr>
          <p:cNvPr id="3" name="Subtitle 2"/>
          <p:cNvSpPr>
            <a:spLocks noGrp="1"/>
          </p:cNvSpPr>
          <p:nvPr>
            <p:ph type="subTitle" idx="1" hasCustomPrompt="1"/>
          </p:nvPr>
        </p:nvSpPr>
        <p:spPr>
          <a:xfrm>
            <a:off x="1169276" y="2571092"/>
            <a:ext cx="9720000" cy="3600000"/>
          </a:xfrm>
          <a:prstGeom prst="rect">
            <a:avLst/>
          </a:prstGeom>
        </p:spPr>
        <p:txBody>
          <a:bodyPr lIns="0" tIns="0" rIns="0" bIns="0" numCol="1" anchor="t"/>
          <a:lstStyle>
            <a:lvl1pPr marL="285750" indent="-285750" algn="l">
              <a:buSzPct val="90000"/>
              <a:buFont typeface="Arial" charset="0"/>
              <a:buChar char="•"/>
              <a:defRPr sz="20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here</a:t>
            </a:r>
          </a:p>
        </p:txBody>
      </p:sp>
    </p:spTree>
    <p:extLst>
      <p:ext uri="{BB962C8B-B14F-4D97-AF65-F5344CB8AC3E}">
        <p14:creationId xmlns:p14="http://schemas.microsoft.com/office/powerpoint/2010/main" val="1551343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6209274" y="2571092"/>
            <a:ext cx="4680000" cy="3600000"/>
          </a:xfrm>
          <a:prstGeom prst="rect">
            <a:avLst/>
          </a:prstGeom>
          <a:solidFill>
            <a:srgbClr val="FCE3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 Placeholder 2"/>
          <p:cNvSpPr>
            <a:spLocks noGrp="1"/>
          </p:cNvSpPr>
          <p:nvPr>
            <p:ph type="body" idx="1" hasCustomPrompt="1"/>
          </p:nvPr>
        </p:nvSpPr>
        <p:spPr>
          <a:xfrm>
            <a:off x="1169276" y="2571092"/>
            <a:ext cx="4680000" cy="3600000"/>
          </a:xfrm>
          <a:prstGeom prst="rect">
            <a:avLst/>
          </a:prstGeom>
        </p:spPr>
        <p:txBody>
          <a:bodyPr lIns="0" tIns="0" rIns="0" bIns="0" anchor="t">
            <a:normAutofit/>
          </a:bodyPr>
          <a:lstStyle>
            <a:lvl1pPr marL="285750" indent="-285750">
              <a:buSzPct val="90000"/>
              <a:buFont typeface="Arial" charset="0"/>
              <a:buChar char="•"/>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5" name="Text Placeholder 4"/>
          <p:cNvSpPr>
            <a:spLocks noGrp="1"/>
          </p:cNvSpPr>
          <p:nvPr>
            <p:ph type="body" sz="quarter" idx="3" hasCustomPrompt="1"/>
          </p:nvPr>
        </p:nvSpPr>
        <p:spPr>
          <a:xfrm>
            <a:off x="6398461" y="2760281"/>
            <a:ext cx="4320000" cy="3240000"/>
          </a:xfrm>
          <a:prstGeom prst="rect">
            <a:avLst/>
          </a:prstGeom>
        </p:spPr>
        <p:txBody>
          <a:bodyPr lIns="0" tIns="0" rIns="0" bIns="0" anchor="t">
            <a:normAutofit/>
          </a:bodyPr>
          <a:lstStyle>
            <a:lvl1pPr marL="0" indent="0">
              <a:buNone/>
              <a:defRPr sz="1800" b="0" i="0">
                <a:latin typeface="Arial" charset="0"/>
                <a:ea typeface="Arial" charset="0"/>
                <a:cs typeface="Arial"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Body text</a:t>
            </a:r>
          </a:p>
        </p:txBody>
      </p:sp>
      <p:sp>
        <p:nvSpPr>
          <p:cNvPr id="13" name="Title 1"/>
          <p:cNvSpPr>
            <a:spLocks noGrp="1"/>
          </p:cNvSpPr>
          <p:nvPr>
            <p:ph type="title" hasCustomPrompt="1"/>
          </p:nvPr>
        </p:nvSpPr>
        <p:spPr>
          <a:xfrm>
            <a:off x="1169276" y="1563798"/>
            <a:ext cx="9720000" cy="720000"/>
          </a:xfrm>
          <a:prstGeom prst="rect">
            <a:avLst/>
          </a:prstGeom>
        </p:spPr>
        <p:txBody>
          <a:bodyPr lIns="0" tIns="0" rIns="0" bIns="0"/>
          <a:lstStyle>
            <a:lvl1pPr>
              <a:defRPr sz="3400" b="1" i="0">
                <a:solidFill>
                  <a:srgbClr val="EF9F3F"/>
                </a:solidFill>
                <a:latin typeface="Arial" charset="0"/>
                <a:ea typeface="Arial" charset="0"/>
                <a:cs typeface="Arial" charset="0"/>
              </a:defRPr>
            </a:lvl1pPr>
          </a:lstStyle>
          <a:p>
            <a:r>
              <a:rPr lang="en-US"/>
              <a:t>Heading</a:t>
            </a:r>
          </a:p>
        </p:txBody>
      </p:sp>
    </p:spTree>
    <p:extLst>
      <p:ext uri="{BB962C8B-B14F-4D97-AF65-F5344CB8AC3E}">
        <p14:creationId xmlns:p14="http://schemas.microsoft.com/office/powerpoint/2010/main" val="28000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http://www.foodafactoflife.org.uk/"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foodafactoflife.org.uk/"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hyperlink" Target="http://www.foodafactoflife.org.uk/" TargetMode="External"/><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www.foodafactoflife.org.uk/" TargetMode="External"/><Relationship Id="rId2" Type="http://schemas.openxmlformats.org/officeDocument/2006/relationships/theme" Target="../theme/theme4.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160862-40A4-418F-BA05-7364BC4F57A3}"/>
              </a:ext>
            </a:extLst>
          </p:cNvPr>
          <p:cNvGraphicFramePr>
            <a:graphicFrameLocks noChangeAspect="1"/>
          </p:cNvGraphicFramePr>
          <p:nvPr userDrawn="1">
            <p:custDataLst>
              <p:tags r:id="rId3"/>
            </p:custDataLst>
            <p:extLst>
              <p:ext uri="{D42A27DB-BD31-4B8C-83A1-F6EECF244321}">
                <p14:modId xmlns:p14="http://schemas.microsoft.com/office/powerpoint/2010/main" val="228666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42160862-40A4-418F-BA05-7364BC4F57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39453" y="358589"/>
            <a:ext cx="2044335" cy="1435165"/>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8"/>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a:t>
            </a:r>
            <a:r>
              <a:rPr lang="en-US" sz="900" b="0" i="0" baseline="0">
                <a:solidFill>
                  <a:schemeClr val="tx1"/>
                </a:solidFill>
                <a:latin typeface="Arial" charset="0"/>
                <a:ea typeface="Arial" charset="0"/>
                <a:cs typeface="Arial" charset="0"/>
              </a:rPr>
              <a:t> Food – </a:t>
            </a:r>
            <a:r>
              <a:rPr lang="en-US" sz="900" b="0" i="0">
                <a:solidFill>
                  <a:schemeClr val="tx1"/>
                </a:solidFill>
                <a:latin typeface="Arial" charset="0"/>
                <a:ea typeface="Arial" charset="0"/>
                <a:cs typeface="Arial" charset="0"/>
              </a:rPr>
              <a:t>a fact of life 2022</a:t>
            </a:r>
          </a:p>
        </p:txBody>
      </p:sp>
    </p:spTree>
    <p:extLst>
      <p:ext uri="{BB962C8B-B14F-4D97-AF65-F5344CB8AC3E}">
        <p14:creationId xmlns:p14="http://schemas.microsoft.com/office/powerpoint/2010/main" val="132888504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679DA3-4731-48D3-8E36-CB7A653629C8}"/>
              </a:ext>
            </a:extLst>
          </p:cNvPr>
          <p:cNvGraphicFramePr>
            <a:graphicFrameLocks noChangeAspect="1"/>
          </p:cNvGraphicFramePr>
          <p:nvPr userDrawn="1">
            <p:custDataLst>
              <p:tags r:id="rId3"/>
            </p:custDataLst>
            <p:extLst>
              <p:ext uri="{D42A27DB-BD31-4B8C-83A1-F6EECF244321}">
                <p14:modId xmlns:p14="http://schemas.microsoft.com/office/powerpoint/2010/main" val="16279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82679DA3-4731-48D3-8E36-CB7A65362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2769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a:p>
            <a:pPr algn="r"/>
            <a:endParaRPr lang="en-US" sz="900" b="0" i="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98317190"/>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E8F17B-CE4B-4D2B-BFE0-BF7FFE1964DE}"/>
              </a:ext>
            </a:extLst>
          </p:cNvPr>
          <p:cNvGraphicFramePr>
            <a:graphicFrameLocks noChangeAspect="1"/>
          </p:cNvGraphicFramePr>
          <p:nvPr userDrawn="1">
            <p:custDataLst>
              <p:tags r:id="rId3"/>
            </p:custDataLst>
            <p:extLst>
              <p:ext uri="{D42A27DB-BD31-4B8C-83A1-F6EECF244321}">
                <p14:modId xmlns:p14="http://schemas.microsoft.com/office/powerpoint/2010/main" val="405213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F4E8F17B-CE4B-4D2B-BFE0-BF7FFE196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822393236"/>
      </p:ext>
    </p:extLst>
  </p:cSld>
  <p:clrMap bg1="lt1" tx1="dk1" bg2="lt2" tx2="dk2" accent1="accent1" accent2="accent2" accent3="accent3" accent4="accent4" accent5="accent5" accent6="accent6" hlink="hlink" folHlink="folHlink"/>
  <p:sldLayoutIdLst>
    <p:sldLayoutId id="21474836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646FD-9780-4F7E-B8BB-C7185B16676C}"/>
              </a:ext>
            </a:extLst>
          </p:cNvPr>
          <p:cNvGraphicFramePr>
            <a:graphicFrameLocks noChangeAspect="1"/>
          </p:cNvGraphicFramePr>
          <p:nvPr userDrawn="1">
            <p:custDataLst>
              <p:tags r:id="rId3"/>
            </p:custDataLst>
            <p:extLst>
              <p:ext uri="{D42A27DB-BD31-4B8C-83A1-F6EECF244321}">
                <p14:modId xmlns:p14="http://schemas.microsoft.com/office/powerpoint/2010/main" val="336886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2" name="Object 1" hidden="1">
                        <a:extLst>
                          <a:ext uri="{FF2B5EF4-FFF2-40B4-BE49-F238E27FC236}">
                            <a16:creationId xmlns:a16="http://schemas.microsoft.com/office/drawing/2014/main" id="{B7C646FD-9780-4F7E-B8BB-C7185B166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79973"/>
            <a:ext cx="12192000" cy="6858000"/>
          </a:xfrm>
          <a:prstGeom prst="rect">
            <a:avLst/>
          </a:prstGeom>
        </p:spPr>
      </p:pic>
      <p:sp>
        <p:nvSpPr>
          <p:cNvPr id="8" name="TextBox 7"/>
          <p:cNvSpPr txBox="1"/>
          <p:nvPr userDrawn="1"/>
        </p:nvSpPr>
        <p:spPr>
          <a:xfrm>
            <a:off x="1156447" y="6539528"/>
            <a:ext cx="10721788" cy="138499"/>
          </a:xfrm>
          <a:prstGeom prst="rect">
            <a:avLst/>
          </a:prstGeom>
          <a:noFill/>
        </p:spPr>
        <p:txBody>
          <a:bodyPr wrap="square" lIns="0" tIns="0" rIns="0" bIns="0" rtlCol="0">
            <a:spAutoFit/>
          </a:bodyPr>
          <a:lstStyle/>
          <a:p>
            <a:pPr algn="r"/>
            <a:r>
              <a:rPr lang="en-US" sz="900" b="0" i="0">
                <a:solidFill>
                  <a:schemeClr val="tx1"/>
                </a:solidFill>
                <a:latin typeface="Arial" charset="0"/>
                <a:ea typeface="Arial" charset="0"/>
                <a:cs typeface="Arial" charset="0"/>
                <a:hlinkClick r:id="rId7"/>
              </a:rPr>
              <a:t>www.foodafactoflife.org.uk</a:t>
            </a:r>
            <a:r>
              <a:rPr lang="en-US" sz="900" b="0" i="0" baseline="0">
                <a:solidFill>
                  <a:schemeClr val="tx1"/>
                </a:solidFill>
                <a:latin typeface="Arial" charset="0"/>
                <a:ea typeface="Arial" charset="0"/>
                <a:cs typeface="Arial" charset="0"/>
              </a:rPr>
              <a:t>    </a:t>
            </a:r>
            <a:r>
              <a:rPr lang="en-US" sz="900" b="0" i="0">
                <a:solidFill>
                  <a:schemeClr val="tx1"/>
                </a:solidFill>
                <a:latin typeface="Arial" charset="0"/>
                <a:ea typeface="Arial" charset="0"/>
                <a:cs typeface="Arial" charset="0"/>
              </a:rPr>
              <a:t>© Food – a fact of life 2022</a:t>
            </a:r>
          </a:p>
        </p:txBody>
      </p:sp>
    </p:spTree>
    <p:extLst>
      <p:ext uri="{BB962C8B-B14F-4D97-AF65-F5344CB8AC3E}">
        <p14:creationId xmlns:p14="http://schemas.microsoft.com/office/powerpoint/2010/main" val="178814360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9.jpeg"/><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9.jpeg"/><Relationship Id="rId4" Type="http://schemas.openxmlformats.org/officeDocument/2006/relationships/image" Target="../media/image18.jpeg"/></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www.foodafactoflife.org.uk/11-14-years/cooking/ingredients/#Sen" TargetMode="External"/><Relationship Id="rId2" Type="http://schemas.openxmlformats.org/officeDocument/2006/relationships/hyperlink" Target="https://www.ifst.org/lovefoodlovescience/resources/food-investigation-how-begin-food-investigation" TargetMode="Externa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hyperlink" Target="https://www.foodafactoflife.org.uk/media/6043/colloidal-systems-kq-1416he.docx" TargetMode="External"/><Relationship Id="rId3" Type="http://schemas.openxmlformats.org/officeDocument/2006/relationships/hyperlink" Target="https://foodafactoflife.org.uk/media/5641/milk-foam-information-sheet.pptx" TargetMode="External"/><Relationship Id="rId7" Type="http://schemas.openxmlformats.org/officeDocument/2006/relationships/hyperlink" Target="https://foodafactoflife.org.uk/media/9836/ingredients-functional-characteristics-ko-11-14c.docx" TargetMode="External"/><Relationship Id="rId2" Type="http://schemas.openxmlformats.org/officeDocument/2006/relationships/hyperlink" Target="https://foodafactoflife.org.uk/media/5642/milk-foam-presentation.pptx" TargetMode="External"/><Relationship Id="rId1" Type="http://schemas.openxmlformats.org/officeDocument/2006/relationships/slideLayout" Target="../slideLayouts/slideLayout3.xml"/><Relationship Id="rId6" Type="http://schemas.openxmlformats.org/officeDocument/2006/relationships/hyperlink" Target="https://www.foodafactoflife.org.uk/media/5350/colloidal-systems-ws-1416cpptx.docx" TargetMode="External"/><Relationship Id="rId5" Type="http://schemas.openxmlformats.org/officeDocument/2006/relationships/hyperlink" Target="https://www.foodafactoflife.org.uk/media/5317/colloidal-systems-ppt-1416c.pptx" TargetMode="External"/><Relationship Id="rId10" Type="http://schemas.openxmlformats.org/officeDocument/2006/relationships/hyperlink" Target="https://www.ifst.org/lovefoodlovescience/resources/protein-foam-formation" TargetMode="External"/><Relationship Id="rId4" Type="http://schemas.openxmlformats.org/officeDocument/2006/relationships/hyperlink" Target="https://foodafactoflife.org.uk/media/5030/protein-foams.docx" TargetMode="External"/><Relationship Id="rId9" Type="http://schemas.openxmlformats.org/officeDocument/2006/relationships/hyperlink" Target="https://www.foodafactoflife.org.uk/media/6044/colloidal-systems-kq-answers-1416he.docx"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www.foodafactoflife.org.uk/recipes/breakfast/wholemeal-cottage-loaf/" TargetMode="External"/><Relationship Id="rId3" Type="http://schemas.openxmlformats.org/officeDocument/2006/relationships/hyperlink" Target="https://foodafactoflife.org.uk/recipes/meat/new-meat-recipes/moussaka-stuffed-aubergine-topped-with-cheesy-souffle-sauce/" TargetMode="External"/><Relationship Id="rId7" Type="http://schemas.openxmlformats.org/officeDocument/2006/relationships/hyperlink" Target="https://www.foodafactoflife.org.uk/recipes/aset-global-cuisines/african/mealie-bread/" TargetMode="External"/><Relationship Id="rId2" Type="http://schemas.openxmlformats.org/officeDocument/2006/relationships/hyperlink" Target="https://www.ifst.org/lovefoodlovescience/resources/protein-stability-egg-white-foams-experiment" TargetMode="External"/><Relationship Id="rId1" Type="http://schemas.openxmlformats.org/officeDocument/2006/relationships/slideLayout" Target="../slideLayouts/slideLayout3.xml"/><Relationship Id="rId6" Type="http://schemas.openxmlformats.org/officeDocument/2006/relationships/hyperlink" Target="https://www.foodafactoflife.org.uk/recipes/cereals/lemon-cake-with-elderflower-curd/" TargetMode="External"/><Relationship Id="rId5" Type="http://schemas.openxmlformats.org/officeDocument/2006/relationships/hyperlink" Target="https://www.foodafactoflife.org.uk/recipes/breakfast/honey-and-walnut-bread/" TargetMode="External"/><Relationship Id="rId4" Type="http://schemas.openxmlformats.org/officeDocument/2006/relationships/hyperlink" Target="https://www.foodafactoflife.org.uk/recipes/cook-club/victoria-sponge-cake/"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s://www.foodafactoflife.org.uk/whole-school/whole-school-approach/guidelines-for-school-education-resources-about-food/" TargetMode="External"/><Relationship Id="rId5" Type="http://schemas.openxmlformats.org/officeDocument/2006/relationships/hyperlink" Target="http://www.foodafactoflife.org.uk/"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BAB5C4-5602-473B-9D95-400B1B769964}"/>
              </a:ext>
            </a:extLst>
          </p:cNvPr>
          <p:cNvGraphicFramePr>
            <a:graphicFrameLocks noChangeAspect="1"/>
          </p:cNvGraphicFramePr>
          <p:nvPr>
            <p:custDataLst>
              <p:tags r:id="rId1"/>
            </p:custDataLst>
            <p:extLst>
              <p:ext uri="{D42A27DB-BD31-4B8C-83A1-F6EECF244321}">
                <p14:modId xmlns:p14="http://schemas.microsoft.com/office/powerpoint/2010/main" val="28699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Object 3" hidden="1">
                        <a:extLst>
                          <a:ext uri="{FF2B5EF4-FFF2-40B4-BE49-F238E27FC236}">
                            <a16:creationId xmlns:a16="http://schemas.microsoft.com/office/drawing/2014/main" id="{8CBAB5C4-5602-473B-9D95-400B1B769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Foams</a:t>
            </a:r>
            <a:endParaRPr lang="en-US" sz="3200"/>
          </a:p>
        </p:txBody>
      </p:sp>
    </p:spTree>
    <p:extLst>
      <p:ext uri="{BB962C8B-B14F-4D97-AF65-F5344CB8AC3E}">
        <p14:creationId xmlns:p14="http://schemas.microsoft.com/office/powerpoint/2010/main" val="195516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s</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7069202" cy="3600000"/>
          </a:xfrm>
        </p:spPr>
        <p:txBody>
          <a:bodyPr/>
          <a:lstStyle/>
          <a:p>
            <a:pPr marL="0" indent="0">
              <a:buNone/>
            </a:pPr>
            <a:r>
              <a:rPr lang="en-GB" b="1" dirty="0"/>
              <a:t>Fact 1. </a:t>
            </a:r>
            <a:r>
              <a:rPr lang="en-GB" dirty="0"/>
              <a:t>Egg whites at room temperature can be beaten to a foam more easily than cold egg whites.</a:t>
            </a:r>
          </a:p>
          <a:p>
            <a:pPr marL="0" indent="0">
              <a:buNone/>
            </a:pPr>
            <a:r>
              <a:rPr lang="en-GB" i="1" dirty="0"/>
              <a:t>Why is this? </a:t>
            </a:r>
          </a:p>
          <a:p>
            <a:pPr marL="0" indent="0">
              <a:buNone/>
            </a:pPr>
            <a:endParaRPr lang="en-GB" i="1" dirty="0"/>
          </a:p>
          <a:p>
            <a:pPr marL="0" indent="0">
              <a:buNone/>
            </a:pPr>
            <a:r>
              <a:rPr lang="en-GB" b="1" dirty="0"/>
              <a:t>Fact 2. </a:t>
            </a:r>
            <a:r>
              <a:rPr lang="en-GB" dirty="0"/>
              <a:t>Sugar is added to a foam to make meringue.</a:t>
            </a:r>
          </a:p>
          <a:p>
            <a:pPr marL="0" indent="0">
              <a:buNone/>
            </a:pPr>
            <a:r>
              <a:rPr lang="en-GB" i="1" dirty="0"/>
              <a:t>Does it make a difference? </a:t>
            </a:r>
          </a:p>
          <a:p>
            <a:pPr marL="0" indent="0">
              <a:buNone/>
            </a:pPr>
            <a:endParaRPr lang="en-GB" i="1" dirty="0"/>
          </a:p>
          <a:p>
            <a:pPr marL="0" indent="0">
              <a:buNone/>
            </a:pPr>
            <a:r>
              <a:rPr lang="en-GB" b="1" dirty="0"/>
              <a:t>Fact 3. </a:t>
            </a:r>
            <a:r>
              <a:rPr lang="en-GB" dirty="0"/>
              <a:t>Adding vinegar or other acid, helps to strengthen and stabilise the foam. </a:t>
            </a:r>
          </a:p>
          <a:p>
            <a:pPr marL="0" indent="0">
              <a:buNone/>
            </a:pPr>
            <a:r>
              <a:rPr lang="en-GB" i="1" dirty="0"/>
              <a:t>What is the science behind this fact?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pic>
        <p:nvPicPr>
          <p:cNvPr id="5" name="Picture 4" descr="A group of white cupcakes&#10;&#10;Description automatically generated with medium confidence">
            <a:extLst>
              <a:ext uri="{FF2B5EF4-FFF2-40B4-BE49-F238E27FC236}">
                <a16:creationId xmlns:a16="http://schemas.microsoft.com/office/drawing/2014/main" id="{41FCB276-0605-8F2C-8ED9-C501B04CD34E}"/>
              </a:ext>
            </a:extLst>
          </p:cNvPr>
          <p:cNvPicPr>
            <a:picLocks noChangeAspect="1"/>
          </p:cNvPicPr>
          <p:nvPr/>
        </p:nvPicPr>
        <p:blipFill>
          <a:blip r:embed="rId3"/>
          <a:stretch>
            <a:fillRect/>
          </a:stretch>
        </p:blipFill>
        <p:spPr>
          <a:xfrm>
            <a:off x="8683218" y="2963752"/>
            <a:ext cx="3107267" cy="2330450"/>
          </a:xfrm>
          <a:prstGeom prst="rect">
            <a:avLst/>
          </a:prstGeom>
        </p:spPr>
      </p:pic>
    </p:spTree>
    <p:extLst>
      <p:ext uri="{BB962C8B-B14F-4D97-AF65-F5344CB8AC3E}">
        <p14:creationId xmlns:p14="http://schemas.microsoft.com/office/powerpoint/2010/main" val="414895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 1</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9850416" cy="1227185"/>
          </a:xfrm>
        </p:spPr>
        <p:txBody>
          <a:bodyPr/>
          <a:lstStyle/>
          <a:p>
            <a:pPr marL="0" indent="0">
              <a:buNone/>
            </a:pPr>
            <a:r>
              <a:rPr lang="en-GB" b="1" dirty="0"/>
              <a:t>Fact 1. </a:t>
            </a:r>
            <a:r>
              <a:rPr lang="en-GB" dirty="0"/>
              <a:t>Egg whites at room temperature can be beaten to a foam more easily than cold egg whites.</a:t>
            </a:r>
          </a:p>
          <a:p>
            <a:pPr marL="0" indent="0">
              <a:buNone/>
            </a:pPr>
            <a:r>
              <a:rPr lang="en-GB" i="1" dirty="0"/>
              <a:t>Why is this? </a:t>
            </a:r>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4A3023DE-ADB7-B949-59A6-4C7C4D2AA727}"/>
              </a:ext>
            </a:extLst>
          </p:cNvPr>
          <p:cNvSpPr txBox="1">
            <a:spLocks/>
          </p:cNvSpPr>
          <p:nvPr/>
        </p:nvSpPr>
        <p:spPr>
          <a:xfrm>
            <a:off x="1169274" y="3997569"/>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Warmer egg whites will foam up better than cold ones from the fridge. This is because the proteins strands can move more at the higher temperature and are already starting to unfurl.</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1083455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 2</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10342786" cy="957554"/>
          </a:xfrm>
        </p:spPr>
        <p:txBody>
          <a:bodyPr/>
          <a:lstStyle/>
          <a:p>
            <a:pPr marL="0" indent="0">
              <a:buNone/>
            </a:pPr>
            <a:r>
              <a:rPr lang="en-GB" b="1" dirty="0"/>
              <a:t>Fact 2. </a:t>
            </a:r>
            <a:r>
              <a:rPr lang="en-GB" dirty="0"/>
              <a:t>Sugar is added to a foam to make meringue.</a:t>
            </a:r>
          </a:p>
          <a:p>
            <a:pPr marL="0" indent="0">
              <a:buNone/>
            </a:pPr>
            <a:r>
              <a:rPr lang="en-GB" i="1" dirty="0"/>
              <a:t>Does it make a difference?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8DDD7D79-BD9E-F93F-CC29-250834ED48A8}"/>
              </a:ext>
            </a:extLst>
          </p:cNvPr>
          <p:cNvSpPr txBox="1">
            <a:spLocks/>
          </p:cNvSpPr>
          <p:nvPr/>
        </p:nvSpPr>
        <p:spPr>
          <a:xfrm>
            <a:off x="1169274" y="3528646"/>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Adding sugar at the beginning can double the time you have to whisk the egg whites to get a foam. Sugar will dissolve in the water (liquid) from the egg white. As a result, it increases the viscosity of the watery phase. The sugar molecules get in the way of the egg proteins. With sugar molecules in the way, it takes longer for the proteins to ‘find’ each other and form bonds.</a:t>
            </a:r>
          </a:p>
          <a:p>
            <a:pPr marL="0" indent="0">
              <a:lnSpc>
                <a:spcPct val="100000"/>
              </a:lnSpc>
              <a:buFont typeface="Arial" charset="0"/>
              <a:buNone/>
            </a:pPr>
            <a:r>
              <a:rPr lang="en-GB" dirty="0"/>
              <a:t>When meringue is cooking, sugar helps keep it stable by bonding with water molecules and preventing them from escaping as water vapor. Delaying the evaporation of water from the foam helps keep the foam stable until it stiffens.</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2085712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s</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10131770" cy="857908"/>
          </a:xfrm>
        </p:spPr>
        <p:txBody>
          <a:bodyPr/>
          <a:lstStyle/>
          <a:p>
            <a:pPr marL="0" indent="0">
              <a:buNone/>
            </a:pPr>
            <a:r>
              <a:rPr lang="en-GB" b="1" dirty="0"/>
              <a:t>Fact 3. </a:t>
            </a:r>
            <a:r>
              <a:rPr lang="en-GB" dirty="0"/>
              <a:t>Adding vinegar or other acid, helps to strengthen and stabilise the foam. </a:t>
            </a:r>
          </a:p>
          <a:p>
            <a:pPr marL="0" indent="0">
              <a:buNone/>
            </a:pPr>
            <a:r>
              <a:rPr lang="en-GB" i="1" dirty="0"/>
              <a:t>What is the science behind this fact?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CA763E49-A043-D551-3057-046480EC4115}"/>
              </a:ext>
            </a:extLst>
          </p:cNvPr>
          <p:cNvSpPr txBox="1">
            <a:spLocks/>
          </p:cNvSpPr>
          <p:nvPr/>
        </p:nvSpPr>
        <p:spPr>
          <a:xfrm>
            <a:off x="1169274" y="3716294"/>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Adding vinegar (or any other acid) can make the foam less likely to become lumpy and collapse. They do this by donating positively-charged hydrogen ions to the egg white’s negatively-charged protein strands, which neutralises the meringue. This slows down the time it takes for the egg whites’ proteins to denature and allows more air to be incorporated before the meringue becomes over-beaten.</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3741374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179BE-A3A8-FE17-FBA1-B8FAC739C789}"/>
              </a:ext>
            </a:extLst>
          </p:cNvPr>
          <p:cNvSpPr>
            <a:spLocks noGrp="1"/>
          </p:cNvSpPr>
          <p:nvPr>
            <p:ph type="ctrTitle"/>
          </p:nvPr>
        </p:nvSpPr>
        <p:spPr/>
        <p:txBody>
          <a:bodyPr/>
          <a:lstStyle/>
          <a:p>
            <a:r>
              <a:rPr lang="en-GB"/>
              <a:t>Applying the science </a:t>
            </a:r>
          </a:p>
        </p:txBody>
      </p:sp>
      <p:sp>
        <p:nvSpPr>
          <p:cNvPr id="3" name="Subtitle 2">
            <a:extLst>
              <a:ext uri="{FF2B5EF4-FFF2-40B4-BE49-F238E27FC236}">
                <a16:creationId xmlns:a16="http://schemas.microsoft.com/office/drawing/2014/main" id="{9CB05283-A066-7E49-733F-F36B714927DE}"/>
              </a:ext>
            </a:extLst>
          </p:cNvPr>
          <p:cNvSpPr>
            <a:spLocks noGrp="1"/>
          </p:cNvSpPr>
          <p:nvPr>
            <p:ph type="subTitle" idx="1"/>
          </p:nvPr>
        </p:nvSpPr>
        <p:spPr>
          <a:xfrm>
            <a:off x="1169276" y="2571091"/>
            <a:ext cx="2867886" cy="3732341"/>
          </a:xfrm>
          <a:ln>
            <a:solidFill>
              <a:srgbClr val="EF9F3F"/>
            </a:solidFill>
          </a:ln>
        </p:spPr>
        <p:txBody>
          <a:bodyPr/>
          <a:lstStyle/>
          <a:p>
            <a:pPr marL="0" indent="0" algn="ctr">
              <a:buNone/>
            </a:pPr>
            <a:r>
              <a:rPr lang="en-GB" sz="1600"/>
              <a:t>Slightly beaten</a:t>
            </a:r>
          </a:p>
          <a:p>
            <a:pPr marL="0" indent="0" algn="ctr">
              <a:buNone/>
            </a:pPr>
            <a:r>
              <a:rPr lang="en-GB" sz="1600"/>
              <a:t>Egg white foams with large air bubbles.</a:t>
            </a:r>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r>
              <a:rPr lang="en-GB" sz="1600"/>
              <a:t>Used for clarifying soups</a:t>
            </a:r>
          </a:p>
        </p:txBody>
      </p:sp>
      <p:sp>
        <p:nvSpPr>
          <p:cNvPr id="4" name="Subtitle 2">
            <a:extLst>
              <a:ext uri="{FF2B5EF4-FFF2-40B4-BE49-F238E27FC236}">
                <a16:creationId xmlns:a16="http://schemas.microsoft.com/office/drawing/2014/main" id="{70A471B7-7FEE-286F-1E68-5FF89C0B60B2}"/>
              </a:ext>
            </a:extLst>
          </p:cNvPr>
          <p:cNvSpPr txBox="1">
            <a:spLocks/>
          </p:cNvSpPr>
          <p:nvPr/>
        </p:nvSpPr>
        <p:spPr>
          <a:xfrm>
            <a:off x="8327768" y="2571092"/>
            <a:ext cx="2867886" cy="3732342"/>
          </a:xfrm>
          <a:prstGeom prst="rect">
            <a:avLst/>
          </a:prstGeom>
          <a:ln>
            <a:solidFill>
              <a:srgbClr val="EF9F3F"/>
            </a:solid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sz="1600"/>
              <a:t>Peak (pointed)</a:t>
            </a:r>
          </a:p>
          <a:p>
            <a:pPr marL="0" indent="0" algn="ctr">
              <a:buFont typeface="Arial" charset="0"/>
              <a:buNone/>
            </a:pPr>
            <a:r>
              <a:rPr lang="en-GB" sz="1600"/>
              <a:t>White, fine foam, glossy and smooth. Very small air bubbles. Stable foam.</a:t>
            </a:r>
          </a:p>
          <a:p>
            <a:pPr marL="0" indent="0" algn="ctr">
              <a:buFont typeface="Arial" charset="0"/>
              <a:buNone/>
            </a:pPr>
            <a:r>
              <a:rPr lang="en-GB" sz="1600"/>
              <a:t>Combines easily into mixtures. </a:t>
            </a:r>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r>
              <a:rPr lang="en-GB" sz="1600"/>
              <a:t>Used in meringues, souffles </a:t>
            </a:r>
          </a:p>
          <a:p>
            <a:pPr marL="0" indent="0" algn="ctr">
              <a:buFont typeface="Arial" charset="0"/>
              <a:buNone/>
            </a:pPr>
            <a:r>
              <a:rPr lang="en-GB" sz="1600"/>
              <a:t> </a:t>
            </a:r>
          </a:p>
          <a:p>
            <a:pPr marL="0" indent="0" algn="ctr">
              <a:buFont typeface="Arial" charset="0"/>
              <a:buNone/>
            </a:pPr>
            <a:endParaRPr lang="en-GB" sz="1600"/>
          </a:p>
          <a:p>
            <a:pPr marL="0" indent="0" algn="ctr">
              <a:buFont typeface="Arial" charset="0"/>
              <a:buNone/>
            </a:pPr>
            <a:endParaRPr lang="en-GB" sz="1600"/>
          </a:p>
        </p:txBody>
      </p:sp>
      <p:sp>
        <p:nvSpPr>
          <p:cNvPr id="5" name="Subtitle 2">
            <a:extLst>
              <a:ext uri="{FF2B5EF4-FFF2-40B4-BE49-F238E27FC236}">
                <a16:creationId xmlns:a16="http://schemas.microsoft.com/office/drawing/2014/main" id="{3E25507F-139A-7679-960E-739A9220476B}"/>
              </a:ext>
            </a:extLst>
          </p:cNvPr>
          <p:cNvSpPr txBox="1">
            <a:spLocks/>
          </p:cNvSpPr>
          <p:nvPr/>
        </p:nvSpPr>
        <p:spPr>
          <a:xfrm>
            <a:off x="4750939" y="2571092"/>
            <a:ext cx="2867886" cy="3732342"/>
          </a:xfrm>
          <a:prstGeom prst="rect">
            <a:avLst/>
          </a:prstGeom>
          <a:ln>
            <a:solidFill>
              <a:srgbClr val="EF9F3F"/>
            </a:solid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sz="1600"/>
              <a:t>Peak (rounded)</a:t>
            </a:r>
          </a:p>
          <a:p>
            <a:pPr marL="0" indent="0" algn="ctr">
              <a:buFont typeface="Arial" charset="0"/>
              <a:buNone/>
            </a:pPr>
            <a:r>
              <a:rPr lang="en-GB" sz="1600"/>
              <a:t>White, shiny, glossy foam. Small air bubbles. Liquid separates out easily. </a:t>
            </a:r>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r>
              <a:rPr lang="en-GB" sz="1600"/>
              <a:t>Used for soft meringue pie topping</a:t>
            </a:r>
          </a:p>
        </p:txBody>
      </p:sp>
      <p:pic>
        <p:nvPicPr>
          <p:cNvPr id="8" name="Picture 7">
            <a:extLst>
              <a:ext uri="{FF2B5EF4-FFF2-40B4-BE49-F238E27FC236}">
                <a16:creationId xmlns:a16="http://schemas.microsoft.com/office/drawing/2014/main" id="{902B27AF-54CF-D6E5-23C4-69E280635938}"/>
              </a:ext>
            </a:extLst>
          </p:cNvPr>
          <p:cNvPicPr>
            <a:picLocks noChangeAspect="1"/>
          </p:cNvPicPr>
          <p:nvPr/>
        </p:nvPicPr>
        <p:blipFill rotWithShape="1">
          <a:blip r:embed="rId3"/>
          <a:srcRect l="8482" t="8950"/>
          <a:stretch/>
        </p:blipFill>
        <p:spPr>
          <a:xfrm>
            <a:off x="1165528" y="3505891"/>
            <a:ext cx="2867886" cy="2145610"/>
          </a:xfrm>
          <a:prstGeom prst="rect">
            <a:avLst/>
          </a:prstGeom>
        </p:spPr>
      </p:pic>
      <p:pic>
        <p:nvPicPr>
          <p:cNvPr id="10" name="Picture 9" descr="A picture containing table, cup, food&#10;&#10;Description automatically generated">
            <a:extLst>
              <a:ext uri="{FF2B5EF4-FFF2-40B4-BE49-F238E27FC236}">
                <a16:creationId xmlns:a16="http://schemas.microsoft.com/office/drawing/2014/main" id="{75F2FF7C-3C42-D996-E88B-2435B3A66FC1}"/>
              </a:ext>
            </a:extLst>
          </p:cNvPr>
          <p:cNvPicPr>
            <a:picLocks noChangeAspect="1"/>
          </p:cNvPicPr>
          <p:nvPr/>
        </p:nvPicPr>
        <p:blipFill rotWithShape="1">
          <a:blip r:embed="rId4"/>
          <a:srcRect l="2955" r="2955"/>
          <a:stretch/>
        </p:blipFill>
        <p:spPr>
          <a:xfrm>
            <a:off x="4750938" y="3633725"/>
            <a:ext cx="2867887" cy="2017776"/>
          </a:xfrm>
          <a:prstGeom prst="rect">
            <a:avLst/>
          </a:prstGeom>
        </p:spPr>
      </p:pic>
      <p:pic>
        <p:nvPicPr>
          <p:cNvPr id="12" name="Picture 11" descr="A picture containing food, cup, plate, coffee&#10;&#10;Description automatically generated">
            <a:extLst>
              <a:ext uri="{FF2B5EF4-FFF2-40B4-BE49-F238E27FC236}">
                <a16:creationId xmlns:a16="http://schemas.microsoft.com/office/drawing/2014/main" id="{38E5342D-AED6-7CFC-9F93-C4A7659811D7}"/>
              </a:ext>
            </a:extLst>
          </p:cNvPr>
          <p:cNvPicPr>
            <a:picLocks noChangeAspect="1"/>
          </p:cNvPicPr>
          <p:nvPr/>
        </p:nvPicPr>
        <p:blipFill rotWithShape="1">
          <a:blip r:embed="rId5"/>
          <a:srcRect t="3516" b="4636"/>
          <a:stretch/>
        </p:blipFill>
        <p:spPr>
          <a:xfrm>
            <a:off x="8327768" y="3953933"/>
            <a:ext cx="2874625" cy="1761067"/>
          </a:xfrm>
          <a:prstGeom prst="rect">
            <a:avLst/>
          </a:prstGeom>
        </p:spPr>
      </p:pic>
    </p:spTree>
    <p:extLst>
      <p:ext uri="{BB962C8B-B14F-4D97-AF65-F5344CB8AC3E}">
        <p14:creationId xmlns:p14="http://schemas.microsoft.com/office/powerpoint/2010/main" val="3823105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9500F-9918-FB99-3144-BD9723173B71}"/>
              </a:ext>
            </a:extLst>
          </p:cNvPr>
          <p:cNvSpPr>
            <a:spLocks noGrp="1"/>
          </p:cNvSpPr>
          <p:nvPr>
            <p:ph type="ctrTitle"/>
          </p:nvPr>
        </p:nvSpPr>
        <p:spPr/>
        <p:txBody>
          <a:bodyPr/>
          <a:lstStyle/>
          <a:p>
            <a:r>
              <a:rPr lang="en-GB"/>
              <a:t>Applying the science</a:t>
            </a:r>
          </a:p>
        </p:txBody>
      </p:sp>
      <p:sp>
        <p:nvSpPr>
          <p:cNvPr id="7" name="Subtitle 2">
            <a:extLst>
              <a:ext uri="{FF2B5EF4-FFF2-40B4-BE49-F238E27FC236}">
                <a16:creationId xmlns:a16="http://schemas.microsoft.com/office/drawing/2014/main" id="{D2678519-BE6A-337F-AA3C-0C19337032FF}"/>
              </a:ext>
            </a:extLst>
          </p:cNvPr>
          <p:cNvSpPr txBox="1">
            <a:spLocks/>
          </p:cNvSpPr>
          <p:nvPr/>
        </p:nvSpPr>
        <p:spPr>
          <a:xfrm>
            <a:off x="4750676" y="2518338"/>
            <a:ext cx="29890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p:txBody>
      </p:sp>
      <p:sp>
        <p:nvSpPr>
          <p:cNvPr id="8" name="Subtitle 2">
            <a:extLst>
              <a:ext uri="{FF2B5EF4-FFF2-40B4-BE49-F238E27FC236}">
                <a16:creationId xmlns:a16="http://schemas.microsoft.com/office/drawing/2014/main" id="{506FC66A-111C-6CE4-2C18-C14DCE8171A5}"/>
              </a:ext>
            </a:extLst>
          </p:cNvPr>
          <p:cNvSpPr txBox="1">
            <a:spLocks/>
          </p:cNvSpPr>
          <p:nvPr/>
        </p:nvSpPr>
        <p:spPr>
          <a:xfrm>
            <a:off x="8306676" y="2469491"/>
            <a:ext cx="29890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pPr>
            <a:endParaRPr lang="en-US"/>
          </a:p>
          <a:p>
            <a:pPr marL="0" indent="0">
              <a:buFont typeface="Arial" charset="0"/>
              <a:buNone/>
            </a:pPr>
            <a:endParaRPr lang="en-US"/>
          </a:p>
          <a:p>
            <a:pPr marL="0" indent="0">
              <a:buFont typeface="Arial" charset="0"/>
              <a:buNone/>
            </a:pPr>
            <a:endParaRPr lang="en-US"/>
          </a:p>
          <a:p>
            <a:pPr marL="0" indent="0">
              <a:buNone/>
            </a:pPr>
            <a:endParaRPr lang="en-US"/>
          </a:p>
          <a:p>
            <a:pPr marL="0" indent="0">
              <a:buNone/>
            </a:pPr>
            <a:endParaRPr lang="en-US"/>
          </a:p>
        </p:txBody>
      </p:sp>
      <p:sp>
        <p:nvSpPr>
          <p:cNvPr id="9" name="TextBox 8">
            <a:extLst>
              <a:ext uri="{FF2B5EF4-FFF2-40B4-BE49-F238E27FC236}">
                <a16:creationId xmlns:a16="http://schemas.microsoft.com/office/drawing/2014/main" id="{3DFE56E4-5452-665E-03BD-C225DD70181D}"/>
              </a:ext>
            </a:extLst>
          </p:cNvPr>
          <p:cNvSpPr txBox="1"/>
          <p:nvPr/>
        </p:nvSpPr>
        <p:spPr>
          <a:xfrm>
            <a:off x="981812" y="4720148"/>
            <a:ext cx="3130726"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Arial"/>
              </a:rPr>
              <a:t>Beating egg whites incorporates air and denatures protein to form a stable foam that can be used in dishes (e.g. meringue</a:t>
            </a:r>
            <a:r>
              <a:rPr lang="en-US" dirty="0">
                <a:latin typeface="Arial"/>
                <a:cs typeface="Arial"/>
              </a:rPr>
              <a:t>).</a:t>
            </a:r>
            <a:endParaRPr lang="en-US">
              <a:latin typeface="Arial"/>
              <a:cs typeface="Arial"/>
            </a:endParaRPr>
          </a:p>
        </p:txBody>
      </p:sp>
      <p:sp>
        <p:nvSpPr>
          <p:cNvPr id="10" name="TextBox 9">
            <a:extLst>
              <a:ext uri="{FF2B5EF4-FFF2-40B4-BE49-F238E27FC236}">
                <a16:creationId xmlns:a16="http://schemas.microsoft.com/office/drawing/2014/main" id="{AE93D599-6421-F7E0-CBA4-057CB1406970}"/>
              </a:ext>
            </a:extLst>
          </p:cNvPr>
          <p:cNvSpPr txBox="1"/>
          <p:nvPr/>
        </p:nvSpPr>
        <p:spPr>
          <a:xfrm>
            <a:off x="4750676" y="4720148"/>
            <a:ext cx="2880000"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Arial"/>
              </a:rPr>
              <a:t>Solid foams like bread and cakes can be formed by reactions that generate gas bubbles (e.g. yeast produces CO</a:t>
            </a:r>
            <a:r>
              <a:rPr lang="en-US" baseline="-25000">
                <a:latin typeface="Arial"/>
                <a:cs typeface="Arial"/>
              </a:rPr>
              <a:t>2</a:t>
            </a:r>
            <a:r>
              <a:rPr lang="en-US">
                <a:latin typeface="Arial"/>
                <a:cs typeface="Arial"/>
              </a:rPr>
              <a:t> to make bread rise</a:t>
            </a:r>
            <a:r>
              <a:rPr lang="en-US" dirty="0">
                <a:latin typeface="Arial"/>
                <a:cs typeface="Arial"/>
              </a:rPr>
              <a:t>).</a:t>
            </a:r>
            <a:endParaRPr lang="en-US">
              <a:latin typeface="Arial"/>
              <a:cs typeface="Arial"/>
            </a:endParaRPr>
          </a:p>
        </p:txBody>
      </p:sp>
      <p:sp>
        <p:nvSpPr>
          <p:cNvPr id="13" name="TextBox 12">
            <a:extLst>
              <a:ext uri="{FF2B5EF4-FFF2-40B4-BE49-F238E27FC236}">
                <a16:creationId xmlns:a16="http://schemas.microsoft.com/office/drawing/2014/main" id="{D382B76B-4447-5181-F811-B1BE5C4C524B}"/>
              </a:ext>
            </a:extLst>
          </p:cNvPr>
          <p:cNvSpPr txBox="1"/>
          <p:nvPr/>
        </p:nvSpPr>
        <p:spPr>
          <a:xfrm>
            <a:off x="8337825" y="4738900"/>
            <a:ext cx="298112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Air makes ice cream softer and lighter, preventing it being overly dense</a:t>
            </a:r>
            <a:r>
              <a:rPr lang="en-US" dirty="0">
                <a:latin typeface="Arial"/>
                <a:cs typeface="Calibri"/>
              </a:rPr>
              <a:t>.</a:t>
            </a:r>
            <a:endParaRPr lang="en-US">
              <a:latin typeface="Arial"/>
              <a:cs typeface="Calibri"/>
            </a:endParaRPr>
          </a:p>
        </p:txBody>
      </p:sp>
      <p:pic>
        <p:nvPicPr>
          <p:cNvPr id="19" name="Picture 18" descr="A picture containing food, dessert, cream&#10;&#10;Description automatically generated">
            <a:extLst>
              <a:ext uri="{FF2B5EF4-FFF2-40B4-BE49-F238E27FC236}">
                <a16:creationId xmlns:a16="http://schemas.microsoft.com/office/drawing/2014/main" id="{0548449E-BF9A-15DD-2880-4880C04D4907}"/>
              </a:ext>
            </a:extLst>
          </p:cNvPr>
          <p:cNvPicPr>
            <a:picLocks noChangeAspect="1"/>
          </p:cNvPicPr>
          <p:nvPr/>
        </p:nvPicPr>
        <p:blipFill>
          <a:blip r:embed="rId2"/>
          <a:stretch>
            <a:fillRect/>
          </a:stretch>
        </p:blipFill>
        <p:spPr>
          <a:xfrm>
            <a:off x="8229461" y="2467115"/>
            <a:ext cx="3098267" cy="2066544"/>
          </a:xfrm>
          <a:prstGeom prst="rect">
            <a:avLst/>
          </a:prstGeom>
        </p:spPr>
      </p:pic>
      <p:pic>
        <p:nvPicPr>
          <p:cNvPr id="21" name="Picture 20" descr="A picture containing plant&#10;&#10;Description automatically generated">
            <a:extLst>
              <a:ext uri="{FF2B5EF4-FFF2-40B4-BE49-F238E27FC236}">
                <a16:creationId xmlns:a16="http://schemas.microsoft.com/office/drawing/2014/main" id="{1421926F-7841-476C-E982-1DCB451153F5}"/>
              </a:ext>
            </a:extLst>
          </p:cNvPr>
          <p:cNvPicPr>
            <a:picLocks noChangeAspect="1"/>
          </p:cNvPicPr>
          <p:nvPr/>
        </p:nvPicPr>
        <p:blipFill>
          <a:blip r:embed="rId3"/>
          <a:stretch>
            <a:fillRect/>
          </a:stretch>
        </p:blipFill>
        <p:spPr>
          <a:xfrm>
            <a:off x="4572000" y="2395728"/>
            <a:ext cx="3048000" cy="2066544"/>
          </a:xfrm>
          <a:prstGeom prst="rect">
            <a:avLst/>
          </a:prstGeom>
        </p:spPr>
      </p:pic>
      <p:pic>
        <p:nvPicPr>
          <p:cNvPr id="23" name="Picture 22" descr="A picture containing indoor, white&#10;&#10;Description automatically generated">
            <a:extLst>
              <a:ext uri="{FF2B5EF4-FFF2-40B4-BE49-F238E27FC236}">
                <a16:creationId xmlns:a16="http://schemas.microsoft.com/office/drawing/2014/main" id="{9B4BB289-34B3-1088-A680-B3768FC69D4A}"/>
              </a:ext>
            </a:extLst>
          </p:cNvPr>
          <p:cNvPicPr>
            <a:picLocks noChangeAspect="1"/>
          </p:cNvPicPr>
          <p:nvPr/>
        </p:nvPicPr>
        <p:blipFill>
          <a:blip r:embed="rId4"/>
          <a:stretch>
            <a:fillRect/>
          </a:stretch>
        </p:blipFill>
        <p:spPr>
          <a:xfrm>
            <a:off x="1083020" y="2295403"/>
            <a:ext cx="3058194" cy="2443497"/>
          </a:xfrm>
          <a:prstGeom prst="rect">
            <a:avLst/>
          </a:prstGeom>
        </p:spPr>
      </p:pic>
    </p:spTree>
    <p:extLst>
      <p:ext uri="{BB962C8B-B14F-4D97-AF65-F5344CB8AC3E}">
        <p14:creationId xmlns:p14="http://schemas.microsoft.com/office/powerpoint/2010/main" val="3869903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867417529"/>
              </p:ext>
            </p:extLst>
          </p:nvPr>
        </p:nvGraphicFramePr>
        <p:xfrm>
          <a:off x="1169274" y="2113729"/>
          <a:ext cx="9930774" cy="4145280"/>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300382">
                <a:tc>
                  <a:txBody>
                    <a:bodyPr/>
                    <a:lstStyle/>
                    <a:p>
                      <a:r>
                        <a:rPr lang="en-US">
                          <a:latin typeface="Arial" panose="020B0604020202020204" pitchFamily="34" charset="0"/>
                          <a:cs typeface="Arial" panose="020B0604020202020204" pitchFamily="34" charset="0"/>
                        </a:rPr>
                        <a:t>Key word</a:t>
                      </a:r>
                    </a:p>
                  </a:txBody>
                  <a:tcPr anchor="ctr"/>
                </a:tc>
                <a:tc>
                  <a:txBody>
                    <a:bodyPr/>
                    <a:lstStyle/>
                    <a:p>
                      <a:r>
                        <a:rPr lang="en-US">
                          <a:latin typeface="Arial" panose="020B0604020202020204" pitchFamily="34" charset="0"/>
                          <a:cs typeface="Arial" panose="020B0604020202020204" pitchFamily="34" charset="0"/>
                        </a:rPr>
                        <a:t>Meaning</a:t>
                      </a:r>
                    </a:p>
                  </a:txBody>
                  <a:tcPr anchor="ctr"/>
                </a:tc>
                <a:extLst>
                  <a:ext uri="{0D108BD9-81ED-4DB2-BD59-A6C34878D82A}">
                    <a16:rowId xmlns:a16="http://schemas.microsoft.com/office/drawing/2014/main" val="475827214"/>
                  </a:ext>
                </a:extLst>
              </a:tr>
              <a:tr h="525669">
                <a:tc>
                  <a:txBody>
                    <a:bodyPr/>
                    <a:lstStyle/>
                    <a:p>
                      <a:pPr lvl="0">
                        <a:buNone/>
                      </a:pPr>
                      <a:r>
                        <a:rPr lang="en-US" sz="2000" b="1">
                          <a:latin typeface="Arial" panose="020B0604020202020204" pitchFamily="34" charset="0"/>
                          <a:cs typeface="Arial" panose="020B0604020202020204" pitchFamily="34" charset="0"/>
                        </a:rPr>
                        <a:t>Foam</a:t>
                      </a:r>
                    </a:p>
                  </a:txBody>
                  <a:tcPr anchor="ctr"/>
                </a:tc>
                <a:tc>
                  <a:txBody>
                    <a:bodyPr/>
                    <a:lstStyle/>
                    <a:p>
                      <a:r>
                        <a:rPr lang="en-GB" sz="1800">
                          <a:latin typeface="Arial" panose="020B0604020202020204" pitchFamily="34" charset="0"/>
                          <a:cs typeface="Arial" panose="020B0604020202020204" pitchFamily="34" charset="0"/>
                        </a:rPr>
                        <a:t>A colloid which has a gas dispersed in either a liquid, e.g., beaten egg white, or a solid, e.g., cake.</a:t>
                      </a:r>
                      <a:endParaRPr lang="en-GB"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223495877"/>
                  </a:ext>
                </a:extLst>
              </a:tr>
              <a:tr h="750955">
                <a:tc>
                  <a:txBody>
                    <a:bodyPr/>
                    <a:lstStyle/>
                    <a:p>
                      <a:pPr lvl="0">
                        <a:buNone/>
                      </a:pPr>
                      <a:r>
                        <a:rPr lang="en-US" sz="2000" b="1">
                          <a:latin typeface="Arial" panose="020B0604020202020204" pitchFamily="34" charset="0"/>
                          <a:cs typeface="Arial" panose="020B0604020202020204" pitchFamily="34" charset="0"/>
                        </a:rPr>
                        <a:t>Colloid</a:t>
                      </a:r>
                    </a:p>
                  </a:txBody>
                  <a:tcPr anchor="ctr"/>
                </a:tc>
                <a:tc>
                  <a:txBody>
                    <a:bodyPr/>
                    <a:lstStyle/>
                    <a:p>
                      <a:pPr lvl="0">
                        <a:buNone/>
                      </a:pPr>
                      <a:r>
                        <a:rPr lang="en-GB" sz="1800" b="0" dirty="0">
                          <a:latin typeface="Arial" panose="020B0604020202020204" pitchFamily="34" charset="0"/>
                          <a:cs typeface="Arial" panose="020B0604020202020204" pitchFamily="34" charset="0"/>
                        </a:rPr>
                        <a:t>A mixture which has one substance dispersed through another, but which does not combine to form a solution, e.g., milk, jam, or mayonnaise.</a:t>
                      </a: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0399103"/>
                  </a:ext>
                </a:extLst>
              </a:tr>
              <a:tr h="325414">
                <a:tc>
                  <a:txBody>
                    <a:bodyPr/>
                    <a:lstStyle/>
                    <a:p>
                      <a:pPr lvl="0">
                        <a:buNone/>
                      </a:pPr>
                      <a:r>
                        <a:rPr lang="en-US" sz="2000" b="1">
                          <a:latin typeface="Arial" panose="020B0604020202020204" pitchFamily="34" charset="0"/>
                          <a:cs typeface="Arial" panose="020B0604020202020204" pitchFamily="34" charset="0"/>
                        </a:rPr>
                        <a:t>Aerate</a:t>
                      </a:r>
                    </a:p>
                  </a:txBody>
                  <a:tcPr anchor="ctr"/>
                </a:tc>
                <a:tc>
                  <a:txBody>
                    <a:bodyPr/>
                    <a:lstStyle/>
                    <a:p>
                      <a:pPr lvl="0" algn="l">
                        <a:lnSpc>
                          <a:spcPct val="100000"/>
                        </a:lnSpc>
                        <a:spcBef>
                          <a:spcPts val="0"/>
                        </a:spcBef>
                        <a:spcAft>
                          <a:spcPts val="0"/>
                        </a:spcAft>
                        <a:buNone/>
                      </a:pPr>
                      <a:r>
                        <a:rPr lang="en-GB" sz="1800" dirty="0">
                          <a:latin typeface="Arial" panose="020B0604020202020204" pitchFamily="34" charset="0"/>
                          <a:cs typeface="Arial" panose="020B0604020202020204" pitchFamily="34" charset="0"/>
                        </a:rPr>
                        <a:t>Incorporate air into a mixture (e.g., beating egg whites)</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18663554"/>
                  </a:ext>
                </a:extLst>
              </a:tr>
              <a:tr h="525669">
                <a:tc>
                  <a:txBody>
                    <a:bodyPr/>
                    <a:lstStyle/>
                    <a:p>
                      <a:pPr lvl="0">
                        <a:buNone/>
                      </a:pPr>
                      <a:r>
                        <a:rPr lang="en-US" sz="2000" b="1">
                          <a:latin typeface="Arial" panose="020B0604020202020204" pitchFamily="34" charset="0"/>
                          <a:cs typeface="Arial" panose="020B0604020202020204" pitchFamily="34" charset="0"/>
                        </a:rPr>
                        <a:t>Sol</a:t>
                      </a:r>
                    </a:p>
                  </a:txBody>
                  <a:tcPr anchor="ctr"/>
                </a:tc>
                <a:tc>
                  <a:txBody>
                    <a:bodyPr/>
                    <a:lstStyle/>
                    <a:p>
                      <a:r>
                        <a:rPr lang="en-GB" sz="1800">
                          <a:latin typeface="Arial" panose="020B0604020202020204" pitchFamily="34" charset="0"/>
                          <a:cs typeface="Arial" panose="020B0604020202020204" pitchFamily="34" charset="0"/>
                        </a:rPr>
                        <a:t>A liquid colloid which has solid particles dispersed in a liquid, e.g., milk, pouring custard, gravy.</a:t>
                      </a:r>
                      <a:endParaRPr lang="en-US"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318793018"/>
                  </a:ext>
                </a:extLst>
              </a:tr>
              <a:tr h="750955">
                <a:tc>
                  <a:txBody>
                    <a:bodyPr/>
                    <a:lstStyle/>
                    <a:p>
                      <a:r>
                        <a:rPr lang="en-US" sz="2000" b="1">
                          <a:latin typeface="Arial" panose="020B0604020202020204" pitchFamily="34" charset="0"/>
                          <a:cs typeface="Arial" panose="020B0604020202020204" pitchFamily="34" charset="0"/>
                        </a:rPr>
                        <a:t>Coalescence </a:t>
                      </a:r>
                    </a:p>
                  </a:txBody>
                  <a:tcPr anchor="ctr"/>
                </a:tc>
                <a:tc>
                  <a:txBody>
                    <a:bodyPr/>
                    <a:lstStyle/>
                    <a:p>
                      <a:pPr lvl="0">
                        <a:buNone/>
                      </a:pPr>
                      <a:r>
                        <a:rPr lang="en-GB" sz="1800" dirty="0">
                          <a:latin typeface="Arial" panose="020B0604020202020204" pitchFamily="34" charset="0"/>
                          <a:cs typeface="Arial" panose="020B0604020202020204" pitchFamily="34" charset="0"/>
                        </a:rPr>
                        <a:t>Coalescence is the process by which two or more droplets, bubbles or particles merge during contact to form a single droplet, bubble or particle (e.g. if an egg white foam is left to stand, the droplets will coalesce and the foam will collapse)</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2541781"/>
                  </a:ext>
                </a:extLst>
              </a:tr>
            </a:tbl>
          </a:graphicData>
        </a:graphic>
      </p:graphicFrame>
    </p:spTree>
    <p:extLst>
      <p:ext uri="{BB962C8B-B14F-4D97-AF65-F5344CB8AC3E}">
        <p14:creationId xmlns:p14="http://schemas.microsoft.com/office/powerpoint/2010/main" val="3594171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4CF2D-5446-4052-C13D-0EF8C7175385}"/>
              </a:ext>
            </a:extLst>
          </p:cNvPr>
          <p:cNvSpPr>
            <a:spLocks noGrp="1"/>
          </p:cNvSpPr>
          <p:nvPr>
            <p:ph type="ctrTitle"/>
          </p:nvPr>
        </p:nvSpPr>
        <p:spPr/>
        <p:txBody>
          <a:bodyPr/>
          <a:lstStyle/>
          <a:p>
            <a:r>
              <a:rPr lang="en-GB">
                <a:latin typeface="Arial"/>
                <a:cs typeface="Arial"/>
              </a:rPr>
              <a:t>Key words </a:t>
            </a:r>
            <a:endParaRPr lang="en-GB"/>
          </a:p>
        </p:txBody>
      </p:sp>
      <p:graphicFrame>
        <p:nvGraphicFramePr>
          <p:cNvPr id="4" name="Table 4">
            <a:extLst>
              <a:ext uri="{FF2B5EF4-FFF2-40B4-BE49-F238E27FC236}">
                <a16:creationId xmlns:a16="http://schemas.microsoft.com/office/drawing/2014/main" id="{852C40F4-3A0C-2C57-5C1A-53EF072895F3}"/>
              </a:ext>
            </a:extLst>
          </p:cNvPr>
          <p:cNvGraphicFramePr>
            <a:graphicFrameLocks noGrp="1"/>
          </p:cNvGraphicFramePr>
          <p:nvPr>
            <p:extLst>
              <p:ext uri="{D42A27DB-BD31-4B8C-83A1-F6EECF244321}">
                <p14:modId xmlns:p14="http://schemas.microsoft.com/office/powerpoint/2010/main" val="4022184618"/>
              </p:ext>
            </p:extLst>
          </p:nvPr>
        </p:nvGraphicFramePr>
        <p:xfrm>
          <a:off x="1169274" y="2113729"/>
          <a:ext cx="9930774" cy="1817755"/>
        </p:xfrm>
        <a:graphic>
          <a:graphicData uri="http://schemas.openxmlformats.org/drawingml/2006/table">
            <a:tbl>
              <a:tblPr firstRow="1" bandRow="1">
                <a:tableStyleId>{00A15C55-8517-42AA-B614-E9B94910E393}</a:tableStyleId>
              </a:tblPr>
              <a:tblGrid>
                <a:gridCol w="2664209">
                  <a:extLst>
                    <a:ext uri="{9D8B030D-6E8A-4147-A177-3AD203B41FA5}">
                      <a16:colId xmlns:a16="http://schemas.microsoft.com/office/drawing/2014/main" val="2283084407"/>
                    </a:ext>
                  </a:extLst>
                </a:gridCol>
                <a:gridCol w="7266565">
                  <a:extLst>
                    <a:ext uri="{9D8B030D-6E8A-4147-A177-3AD203B41FA5}">
                      <a16:colId xmlns:a16="http://schemas.microsoft.com/office/drawing/2014/main" val="58838503"/>
                    </a:ext>
                  </a:extLst>
                </a:gridCol>
              </a:tblGrid>
              <a:tr h="300382">
                <a:tc>
                  <a:txBody>
                    <a:bodyPr/>
                    <a:lstStyle/>
                    <a:p>
                      <a:r>
                        <a:rPr lang="en-US">
                          <a:latin typeface="Arial"/>
                        </a:rPr>
                        <a:t>Key word</a:t>
                      </a:r>
                    </a:p>
                  </a:txBody>
                  <a:tcPr/>
                </a:tc>
                <a:tc>
                  <a:txBody>
                    <a:bodyPr/>
                    <a:lstStyle/>
                    <a:p>
                      <a:r>
                        <a:rPr lang="en-US">
                          <a:latin typeface="Arial"/>
                        </a:rPr>
                        <a:t>Meaning</a:t>
                      </a:r>
                    </a:p>
                  </a:txBody>
                  <a:tcPr/>
                </a:tc>
                <a:extLst>
                  <a:ext uri="{0D108BD9-81ED-4DB2-BD59-A6C34878D82A}">
                    <a16:rowId xmlns:a16="http://schemas.microsoft.com/office/drawing/2014/main" val="475827214"/>
                  </a:ext>
                </a:extLst>
              </a:tr>
              <a:tr h="525669">
                <a:tc>
                  <a:txBody>
                    <a:bodyPr/>
                    <a:lstStyle/>
                    <a:p>
                      <a:pPr lvl="0">
                        <a:buNone/>
                      </a:pPr>
                      <a:r>
                        <a:rPr lang="en-US" sz="2000" b="1">
                          <a:latin typeface="Arial"/>
                        </a:rPr>
                        <a:t>Hydrophilic​</a:t>
                      </a:r>
                    </a:p>
                  </a:txBody>
                  <a:tcPr anchor="ctr"/>
                </a:tc>
                <a:tc>
                  <a:txBody>
                    <a:bodyPr/>
                    <a:lstStyle/>
                    <a:p>
                      <a:r>
                        <a:rPr lang="en-GB" sz="2000" dirty="0">
                          <a:latin typeface="Arial"/>
                        </a:rPr>
                        <a:t>‘Water loving’ – tends to mix and/or form a solution with water, e.g., sugar.</a:t>
                      </a:r>
                    </a:p>
                  </a:txBody>
                  <a:tcPr anchor="ctr"/>
                </a:tc>
                <a:extLst>
                  <a:ext uri="{0D108BD9-81ED-4DB2-BD59-A6C34878D82A}">
                    <a16:rowId xmlns:a16="http://schemas.microsoft.com/office/drawing/2014/main" val="1223495877"/>
                  </a:ext>
                </a:extLst>
              </a:tr>
              <a:tr h="750955">
                <a:tc>
                  <a:txBody>
                    <a:bodyPr/>
                    <a:lstStyle/>
                    <a:p>
                      <a:pPr lvl="0">
                        <a:buNone/>
                      </a:pPr>
                      <a:r>
                        <a:rPr lang="en-US" sz="2000" b="1">
                          <a:latin typeface="Arial"/>
                        </a:rPr>
                        <a:t>Hydrophobic</a:t>
                      </a:r>
                    </a:p>
                  </a:txBody>
                  <a:tcPr anchor="ctr"/>
                </a:tc>
                <a:tc>
                  <a:txBody>
                    <a:bodyPr/>
                    <a:lstStyle/>
                    <a:p>
                      <a:pPr lvl="0">
                        <a:buNone/>
                      </a:pPr>
                      <a:r>
                        <a:rPr lang="en-GB" sz="2000" b="0" dirty="0">
                          <a:latin typeface="Arial"/>
                        </a:rPr>
                        <a:t>‘Water hating’ – tends not to mix and/or form a solution with water, e.g., oil.</a:t>
                      </a:r>
                      <a:endParaRPr lang="en-US" sz="2000" b="0" dirty="0">
                        <a:latin typeface="Arial"/>
                      </a:endParaRPr>
                    </a:p>
                  </a:txBody>
                  <a:tcPr anchor="ctr"/>
                </a:tc>
                <a:extLst>
                  <a:ext uri="{0D108BD9-81ED-4DB2-BD59-A6C34878D82A}">
                    <a16:rowId xmlns:a16="http://schemas.microsoft.com/office/drawing/2014/main" val="4010399103"/>
                  </a:ext>
                </a:extLst>
              </a:tr>
            </a:tbl>
          </a:graphicData>
        </a:graphic>
      </p:graphicFrame>
    </p:spTree>
    <p:extLst>
      <p:ext uri="{BB962C8B-B14F-4D97-AF65-F5344CB8AC3E}">
        <p14:creationId xmlns:p14="http://schemas.microsoft.com/office/powerpoint/2010/main" val="1979304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BE14-55C0-C423-6860-80CFB347D346}"/>
              </a:ext>
            </a:extLst>
          </p:cNvPr>
          <p:cNvSpPr>
            <a:spLocks noGrp="1"/>
          </p:cNvSpPr>
          <p:nvPr>
            <p:ph type="ctrTitle"/>
          </p:nvPr>
        </p:nvSpPr>
        <p:spPr/>
        <p:txBody>
          <a:bodyPr/>
          <a:lstStyle/>
          <a:p>
            <a:r>
              <a:rPr lang="en-GB" dirty="0"/>
              <a:t>Teachers’</a:t>
            </a:r>
            <a:r>
              <a:rPr lang="en-GB"/>
              <a:t> guide</a:t>
            </a:r>
          </a:p>
        </p:txBody>
      </p:sp>
    </p:spTree>
    <p:extLst>
      <p:ext uri="{BB962C8B-B14F-4D97-AF65-F5344CB8AC3E}">
        <p14:creationId xmlns:p14="http://schemas.microsoft.com/office/powerpoint/2010/main" val="482496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040530-858F-4412-BE1A-FA5CC63D2715}"/>
              </a:ext>
            </a:extLst>
          </p:cNvPr>
          <p:cNvGraphicFramePr>
            <a:graphicFrameLocks noChangeAspect="1"/>
          </p:cNvGraphicFramePr>
          <p:nvPr>
            <p:custDataLst>
              <p:tags r:id="rId1"/>
            </p:custDataLst>
            <p:extLst>
              <p:ext uri="{D42A27DB-BD31-4B8C-83A1-F6EECF244321}">
                <p14:modId xmlns:p14="http://schemas.microsoft.com/office/powerpoint/2010/main" val="80831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AB040530-858F-4412-BE1A-FA5CC63D27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latin typeface="Arial"/>
                <a:cs typeface="Arial"/>
              </a:rPr>
              <a:t>Teaching about foams:</a:t>
            </a:r>
            <a:br>
              <a:rPr lang="en-US">
                <a:latin typeface="Arial"/>
                <a:cs typeface="Arial"/>
              </a:rPr>
            </a:br>
            <a:endParaRPr lang="en-GB"/>
          </a:p>
        </p:txBody>
      </p:sp>
      <p:sp>
        <p:nvSpPr>
          <p:cNvPr id="3" name="Subtitle 2"/>
          <p:cNvSpPr>
            <a:spLocks noGrp="1"/>
          </p:cNvSpPr>
          <p:nvPr>
            <p:ph type="subTitle" idx="1"/>
          </p:nvPr>
        </p:nvSpPr>
        <p:spPr>
          <a:xfrm>
            <a:off x="1169276" y="2571092"/>
            <a:ext cx="10253400" cy="3600000"/>
          </a:xfrm>
        </p:spPr>
        <p:txBody>
          <a:bodyPr/>
          <a:lstStyle/>
          <a:p>
            <a:pPr marL="0" lvl="0" indent="0">
              <a:buNone/>
            </a:pPr>
            <a:endParaRPr lang="en-GB"/>
          </a:p>
          <a:p>
            <a:pPr lvl="0"/>
            <a:endParaRPr lang="en-GB"/>
          </a:p>
          <a:p>
            <a:pPr lvl="0"/>
            <a:endParaRPr lang="en-GB"/>
          </a:p>
          <a:p>
            <a:pPr lvl="0"/>
            <a:endParaRPr lang="en-GB"/>
          </a:p>
          <a:p>
            <a:pPr lvl="0"/>
            <a:endParaRPr lang="en-GB"/>
          </a:p>
          <a:p>
            <a:pPr lvl="0"/>
            <a:r>
              <a:rPr lang="en-GB" b="0" i="0">
                <a:solidFill>
                  <a:srgbClr val="000000"/>
                </a:solidFill>
                <a:effectLst/>
                <a:latin typeface="Arial" panose="020B0604020202020204" pitchFamily="34" charset="0"/>
              </a:rPr>
              <a:t>Carry out investigations/tests on foam production and stabilisation</a:t>
            </a:r>
            <a:r>
              <a:rPr lang="en-GB" b="0" i="0" dirty="0">
                <a:solidFill>
                  <a:srgbClr val="000000"/>
                </a:solidFill>
                <a:effectLst/>
                <a:latin typeface="Arial" panose="020B0604020202020204" pitchFamily="34" charset="0"/>
              </a:rPr>
              <a:t>.</a:t>
            </a:r>
            <a:endParaRPr lang="en-GB"/>
          </a:p>
          <a:p>
            <a:endParaRPr lang="en-US">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
        <p:nvSpPr>
          <p:cNvPr id="6" name="Subtitle 2">
            <a:extLst>
              <a:ext uri="{FF2B5EF4-FFF2-40B4-BE49-F238E27FC236}">
                <a16:creationId xmlns:a16="http://schemas.microsoft.com/office/drawing/2014/main" id="{A705A842-B67A-1091-B43C-016955CEB56E}"/>
              </a:ext>
            </a:extLst>
          </p:cNvPr>
          <p:cNvSpPr>
            <a:spLocks noGrp="1"/>
          </p:cNvSpPr>
          <p:nvPr/>
        </p:nvSpPr>
        <p:spPr>
          <a:xfrm>
            <a:off x="1169276" y="2571092"/>
            <a:ext cx="1025340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a:latin typeface="Arial"/>
                <a:cs typeface="Arial"/>
              </a:rPr>
              <a:t>Demonstrate and explain how a foam is produced</a:t>
            </a:r>
            <a:r>
              <a:rPr lang="en-GB" dirty="0">
                <a:latin typeface="Arial"/>
                <a:cs typeface="Arial"/>
              </a:rPr>
              <a:t>.</a:t>
            </a:r>
            <a:r>
              <a:rPr lang="en-GB">
                <a:latin typeface="Arial"/>
                <a:cs typeface="Arial"/>
              </a:rPr>
              <a:t> </a:t>
            </a:r>
          </a:p>
          <a:p>
            <a:r>
              <a:rPr lang="en-GB">
                <a:latin typeface="Arial"/>
                <a:cs typeface="Arial"/>
              </a:rPr>
              <a:t>Explain the science of making a foam</a:t>
            </a:r>
            <a:r>
              <a:rPr lang="en-GB" dirty="0">
                <a:latin typeface="Arial"/>
                <a:cs typeface="Arial"/>
              </a:rPr>
              <a:t>.</a:t>
            </a:r>
            <a:endParaRPr lang="en-GB">
              <a:latin typeface="Arial"/>
              <a:cs typeface="Arial"/>
            </a:endParaRPr>
          </a:p>
          <a:p>
            <a:r>
              <a:rPr lang="en-GB">
                <a:latin typeface="Arial"/>
                <a:cs typeface="Arial"/>
              </a:rPr>
              <a:t>Explain how egg white foams are stabilised</a:t>
            </a:r>
            <a:r>
              <a:rPr lang="en-GB" dirty="0">
                <a:latin typeface="Arial"/>
                <a:cs typeface="Arial"/>
              </a:rPr>
              <a:t>.</a:t>
            </a:r>
            <a:endParaRPr lang="en-GB">
              <a:latin typeface="Arial"/>
              <a:cs typeface="Arial"/>
            </a:endParaRPr>
          </a:p>
          <a:p>
            <a:r>
              <a:rPr lang="en-GB">
                <a:latin typeface="Arial"/>
                <a:cs typeface="Arial"/>
              </a:rPr>
              <a:t>Explain how and when foams are used in recipes</a:t>
            </a:r>
            <a:r>
              <a:rPr lang="en-GB" dirty="0">
                <a:latin typeface="Arial"/>
                <a:cs typeface="Arial"/>
              </a:rPr>
              <a:t>.</a:t>
            </a:r>
            <a:endParaRPr lang="en-GB">
              <a:latin typeface="Arial"/>
              <a:cs typeface="Arial"/>
            </a:endParaRPr>
          </a:p>
          <a:p>
            <a:r>
              <a:rPr lang="en-GB">
                <a:latin typeface="Arial"/>
                <a:cs typeface="Arial"/>
              </a:rPr>
              <a:t>Discuss the characteristics of products that incorporate a foam</a:t>
            </a:r>
            <a:r>
              <a:rPr lang="en-GB" dirty="0">
                <a:latin typeface="Arial"/>
                <a:cs typeface="Arial"/>
              </a:rPr>
              <a:t>.</a:t>
            </a:r>
            <a:endParaRPr lang="en-GB">
              <a:latin typeface="Arial"/>
              <a:cs typeface="Arial"/>
            </a:endParaRPr>
          </a:p>
          <a:p>
            <a:endParaRPr lang="en-GB">
              <a:latin typeface="Arial"/>
              <a:cs typeface="Arial"/>
            </a:endParaRPr>
          </a:p>
          <a:p>
            <a:pPr marL="0" indent="0">
              <a:buNone/>
            </a:pPr>
            <a:endParaRPr lang="en-GB">
              <a:latin typeface="Arial"/>
              <a:cs typeface="Arial"/>
            </a:endParaRPr>
          </a:p>
          <a:p>
            <a:endParaRPr lang="en-GB"/>
          </a:p>
          <a:p>
            <a:pPr marL="628650" indent="-342900">
              <a:buFont typeface="Arial" panose="020B0604020202020204" pitchFamily="34" charset="0"/>
              <a:buChar char="•"/>
            </a:pPr>
            <a:endParaRPr lang="en-GB"/>
          </a:p>
          <a:p>
            <a:pPr marL="0" lvl="0" indent="0">
              <a:buNone/>
            </a:pPr>
            <a:endParaRPr lang="en-GB"/>
          </a:p>
          <a:p>
            <a:pPr lvl="0"/>
            <a:endParaRPr lang="en-GB"/>
          </a:p>
          <a:p>
            <a:pPr lvl="0"/>
            <a:endParaRPr lang="en-GB"/>
          </a:p>
          <a:p>
            <a:pPr marL="0" indent="0">
              <a:buNone/>
            </a:pPr>
            <a:endParaRPr lang="en-GB">
              <a:latin typeface="Arial" panose="020B0604020202020204" pitchFamily="34" charset="0"/>
              <a:cs typeface="Arial" panose="020B0604020202020204" pitchFamily="34" charset="0"/>
            </a:endParaRPr>
          </a:p>
          <a:p>
            <a:pPr marL="0" indent="0">
              <a:buNone/>
            </a:pPr>
            <a:endParaRPr lang="en-GB"/>
          </a:p>
        </p:txBody>
      </p:sp>
    </p:spTree>
    <p:extLst>
      <p:ext uri="{BB962C8B-B14F-4D97-AF65-F5344CB8AC3E}">
        <p14:creationId xmlns:p14="http://schemas.microsoft.com/office/powerpoint/2010/main" val="3993973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682EB514-1488-2671-A750-8B26BC09E0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4583397"/>
            <a:ext cx="2441331" cy="1864289"/>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2">
            <a:extLst>
              <a:ext uri="{FF2B5EF4-FFF2-40B4-BE49-F238E27FC236}">
                <a16:creationId xmlns:a16="http://schemas.microsoft.com/office/drawing/2014/main" id="{EA54D198-1E8A-FB19-3347-D627F60773A2}"/>
              </a:ext>
            </a:extLst>
          </p:cNvPr>
          <p:cNvSpPr txBox="1">
            <a:spLocks/>
          </p:cNvSpPr>
          <p:nvPr/>
        </p:nvSpPr>
        <p:spPr>
          <a:xfrm>
            <a:off x="1169274" y="2571092"/>
            <a:ext cx="9021009"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Font typeface="Arial" charset="0"/>
              <a:buNone/>
            </a:pPr>
            <a:r>
              <a:rPr lang="en-US"/>
              <a:t>Foams are one type of colloidal system. </a:t>
            </a:r>
          </a:p>
          <a:p>
            <a:pPr marL="0" indent="0">
              <a:buFont typeface="Arial" charset="0"/>
              <a:buNone/>
              <a:defRPr/>
            </a:pPr>
            <a:r>
              <a:rPr lang="en-GB" altLang="en-US"/>
              <a:t>There are many types of colloidal systems, depending on the state of the two substances mixed together.  </a:t>
            </a:r>
          </a:p>
          <a:p>
            <a:pPr marL="0" indent="0">
              <a:buFont typeface="Arial" charset="0"/>
              <a:buNone/>
              <a:defRPr/>
            </a:pPr>
            <a:r>
              <a:rPr lang="en-GB" altLang="en-US"/>
              <a:t>Gels, sols, foams like egg white foam and emulsions such as butter are all types of colloids.</a:t>
            </a:r>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a:p>
            <a:pPr marL="0" indent="0">
              <a:buFont typeface="Arial" charset="0"/>
              <a:buNone/>
            </a:pPr>
            <a:endParaRPr lang="en-US"/>
          </a:p>
        </p:txBody>
      </p:sp>
      <p:sp>
        <p:nvSpPr>
          <p:cNvPr id="2" name="Title 1">
            <a:extLst>
              <a:ext uri="{FF2B5EF4-FFF2-40B4-BE49-F238E27FC236}">
                <a16:creationId xmlns:a16="http://schemas.microsoft.com/office/drawing/2014/main" id="{9B56DC22-08AB-0D91-7AB6-8D24F66397BF}"/>
              </a:ext>
            </a:extLst>
          </p:cNvPr>
          <p:cNvSpPr>
            <a:spLocks noGrp="1"/>
          </p:cNvSpPr>
          <p:nvPr>
            <p:ph type="ctrTitle"/>
          </p:nvPr>
        </p:nvSpPr>
        <p:spPr/>
        <p:txBody>
          <a:bodyPr/>
          <a:lstStyle/>
          <a:p>
            <a:r>
              <a:rPr lang="en-US">
                <a:latin typeface="Arial"/>
                <a:cs typeface="Arial"/>
              </a:rPr>
              <a:t>Introduction</a:t>
            </a:r>
            <a:endParaRPr lang="en-US"/>
          </a:p>
        </p:txBody>
      </p:sp>
      <p:sp>
        <p:nvSpPr>
          <p:cNvPr id="3" name="Subtitle 2">
            <a:extLst>
              <a:ext uri="{FF2B5EF4-FFF2-40B4-BE49-F238E27FC236}">
                <a16:creationId xmlns:a16="http://schemas.microsoft.com/office/drawing/2014/main" id="{B08F7FAB-511F-7730-95EA-CDCD60827684}"/>
              </a:ext>
            </a:extLst>
          </p:cNvPr>
          <p:cNvSpPr>
            <a:spLocks noGrp="1"/>
          </p:cNvSpPr>
          <p:nvPr>
            <p:ph type="subTitle" idx="1"/>
          </p:nvPr>
        </p:nvSpPr>
        <p:spPr>
          <a:xfrm>
            <a:off x="1169276" y="2571092"/>
            <a:ext cx="9021009" cy="3600000"/>
          </a:xfrm>
        </p:spPr>
        <p:txBody>
          <a:bodyPr/>
          <a:lstStyle/>
          <a:p>
            <a:pPr marL="0" indent="0">
              <a:buNone/>
            </a:pPr>
            <a:r>
              <a:rPr lang="en-US"/>
              <a:t>Foams are one type of colloidal system. </a:t>
            </a:r>
          </a:p>
          <a:p>
            <a:pPr marL="0" indent="0">
              <a:buNone/>
              <a:defRPr/>
            </a:pPr>
            <a:r>
              <a:rPr lang="en-GB" altLang="en-US" sz="2000"/>
              <a:t>There are many types of colloidal systems, depending on the state of the two substances mixed together.  </a:t>
            </a:r>
          </a:p>
          <a:p>
            <a:pPr marL="0" indent="0">
              <a:buNone/>
              <a:defRPr/>
            </a:pPr>
            <a:r>
              <a:rPr lang="en-GB" altLang="en-US" sz="2000"/>
              <a:t>Gels, sols, foams like egg white foam and emulsions</a:t>
            </a:r>
            <a:r>
              <a:rPr lang="en-GB" altLang="en-US"/>
              <a:t> </a:t>
            </a:r>
            <a:r>
              <a:rPr lang="en-GB" altLang="en-US" sz="2000"/>
              <a:t>such as butter are all types of colloids.</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pic>
        <p:nvPicPr>
          <p:cNvPr id="1028" name="Picture 4">
            <a:extLst>
              <a:ext uri="{FF2B5EF4-FFF2-40B4-BE49-F238E27FC236}">
                <a16:creationId xmlns:a16="http://schemas.microsoft.com/office/drawing/2014/main" id="{9294093B-8B16-6220-DD24-0C96B1DA06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1577" y="4706960"/>
            <a:ext cx="1781213" cy="15402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B57ADA1-CD0B-A21C-94D8-281622E7E5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44402" y="4574203"/>
            <a:ext cx="2441331" cy="1628367"/>
          </a:xfrm>
          <a:prstGeom prst="rect">
            <a:avLst/>
          </a:prstGeom>
        </p:spPr>
      </p:pic>
      <p:sp>
        <p:nvSpPr>
          <p:cNvPr id="8" name="TextBox 7">
            <a:extLst>
              <a:ext uri="{FF2B5EF4-FFF2-40B4-BE49-F238E27FC236}">
                <a16:creationId xmlns:a16="http://schemas.microsoft.com/office/drawing/2014/main" id="{06C46D37-2436-912A-161F-17B369CFD04A}"/>
              </a:ext>
            </a:extLst>
          </p:cNvPr>
          <p:cNvSpPr txBox="1"/>
          <p:nvPr/>
        </p:nvSpPr>
        <p:spPr>
          <a:xfrm>
            <a:off x="1975337" y="6278886"/>
            <a:ext cx="987469"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Gel</a:t>
            </a:r>
          </a:p>
        </p:txBody>
      </p:sp>
      <p:sp>
        <p:nvSpPr>
          <p:cNvPr id="9" name="TextBox 8">
            <a:extLst>
              <a:ext uri="{FF2B5EF4-FFF2-40B4-BE49-F238E27FC236}">
                <a16:creationId xmlns:a16="http://schemas.microsoft.com/office/drawing/2014/main" id="{160404DC-D8C7-BF80-ABFF-5071DDE730E5}"/>
              </a:ext>
            </a:extLst>
          </p:cNvPr>
          <p:cNvSpPr txBox="1"/>
          <p:nvPr/>
        </p:nvSpPr>
        <p:spPr>
          <a:xfrm>
            <a:off x="5794128" y="6247236"/>
            <a:ext cx="1339267"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Emulsion</a:t>
            </a:r>
          </a:p>
        </p:txBody>
      </p:sp>
      <p:sp>
        <p:nvSpPr>
          <p:cNvPr id="10" name="TextBox 9">
            <a:extLst>
              <a:ext uri="{FF2B5EF4-FFF2-40B4-BE49-F238E27FC236}">
                <a16:creationId xmlns:a16="http://schemas.microsoft.com/office/drawing/2014/main" id="{7C5EACD4-505E-AE03-0867-DA82D3CD2F84}"/>
              </a:ext>
            </a:extLst>
          </p:cNvPr>
          <p:cNvSpPr txBox="1"/>
          <p:nvPr/>
        </p:nvSpPr>
        <p:spPr>
          <a:xfrm>
            <a:off x="9771332" y="6182684"/>
            <a:ext cx="987469"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Foam</a:t>
            </a:r>
          </a:p>
        </p:txBody>
      </p:sp>
      <p:pic>
        <p:nvPicPr>
          <p:cNvPr id="11" name="Picture 10" descr="A plate with food on it&#10;&#10;Description automatically generated with low confidence">
            <a:extLst>
              <a:ext uri="{FF2B5EF4-FFF2-40B4-BE49-F238E27FC236}">
                <a16:creationId xmlns:a16="http://schemas.microsoft.com/office/drawing/2014/main" id="{513C5939-8926-8978-6340-F641FDD92771}"/>
              </a:ext>
            </a:extLst>
          </p:cNvPr>
          <p:cNvPicPr>
            <a:picLocks noChangeAspect="1"/>
          </p:cNvPicPr>
          <p:nvPr/>
        </p:nvPicPr>
        <p:blipFill>
          <a:blip r:embed="rId5"/>
          <a:stretch>
            <a:fillRect/>
          </a:stretch>
        </p:blipFill>
        <p:spPr>
          <a:xfrm>
            <a:off x="1244061" y="4588696"/>
            <a:ext cx="2441331" cy="1628367"/>
          </a:xfrm>
          <a:prstGeom prst="rect">
            <a:avLst/>
          </a:prstGeom>
        </p:spPr>
      </p:pic>
    </p:spTree>
    <p:extLst>
      <p:ext uri="{BB962C8B-B14F-4D97-AF65-F5344CB8AC3E}">
        <p14:creationId xmlns:p14="http://schemas.microsoft.com/office/powerpoint/2010/main" val="283177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72E31-52F7-B373-1BA8-4DC8A7DBBBEB}"/>
              </a:ext>
            </a:extLst>
          </p:cNvPr>
          <p:cNvSpPr>
            <a:spLocks noGrp="1"/>
          </p:cNvSpPr>
          <p:nvPr>
            <p:ph type="ctrTitle"/>
          </p:nvPr>
        </p:nvSpPr>
        <p:spPr/>
        <p:txBody>
          <a:bodyPr/>
          <a:lstStyle/>
          <a:p>
            <a:r>
              <a:rPr lang="en-GB"/>
              <a:t>Foams – what are they?</a:t>
            </a:r>
          </a:p>
        </p:txBody>
      </p:sp>
      <p:sp>
        <p:nvSpPr>
          <p:cNvPr id="3" name="Subtitle 2">
            <a:extLst>
              <a:ext uri="{FF2B5EF4-FFF2-40B4-BE49-F238E27FC236}">
                <a16:creationId xmlns:a16="http://schemas.microsoft.com/office/drawing/2014/main" id="{56621D20-423A-AF98-AA4B-91C734147752}"/>
              </a:ext>
            </a:extLst>
          </p:cNvPr>
          <p:cNvSpPr>
            <a:spLocks noGrp="1"/>
          </p:cNvSpPr>
          <p:nvPr>
            <p:ph type="subTitle" idx="1"/>
          </p:nvPr>
        </p:nvSpPr>
        <p:spPr/>
        <p:txBody>
          <a:bodyPr/>
          <a:lstStyle/>
          <a:p>
            <a:pPr marL="0" indent="0">
              <a:buNone/>
            </a:pPr>
            <a:r>
              <a:rPr lang="en-GB"/>
              <a:t>When egg white is whisked air is beaten into the mixture. Initially:</a:t>
            </a:r>
          </a:p>
          <a:p>
            <a:r>
              <a:rPr lang="en-GB"/>
              <a:t>The egg white is clear, flows easily, has large bubbles.</a:t>
            </a:r>
          </a:p>
          <a:p>
            <a:r>
              <a:rPr lang="en-GB"/>
              <a:t>As whisking continues the proteins in the egg white begin to stretch/unravel. </a:t>
            </a:r>
          </a:p>
          <a:p>
            <a:r>
              <a:rPr lang="en-GB"/>
              <a:t>The amino acids contain both hydrophilic and hydrophobic amino acids. When the protein is folded, the hydrophobic amino acids are in the centre away from the water and the hydrophilic are on the outside closer to the water.</a:t>
            </a:r>
          </a:p>
          <a:p>
            <a:r>
              <a:rPr lang="en-GB"/>
              <a:t>When an egg protein is next to an air bubble, part of that protein is exposed to air and part is still in water. The protein uncurls so that its water-loving parts can be immersed in the water and its water-hating parts can stay in the air. </a:t>
            </a:r>
          </a:p>
          <a:p>
            <a:r>
              <a:rPr lang="en-GB"/>
              <a:t>Once the proteins uncurl, they cross link with each other creating a network that can hold the air bubbles in place.</a:t>
            </a:r>
          </a:p>
        </p:txBody>
      </p:sp>
    </p:spTree>
    <p:extLst>
      <p:ext uri="{BB962C8B-B14F-4D97-AF65-F5344CB8AC3E}">
        <p14:creationId xmlns:p14="http://schemas.microsoft.com/office/powerpoint/2010/main" val="3708357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55A0A-A968-8176-A8E4-7E1E9285C802}"/>
              </a:ext>
            </a:extLst>
          </p:cNvPr>
          <p:cNvSpPr>
            <a:spLocks noGrp="1"/>
          </p:cNvSpPr>
          <p:nvPr>
            <p:ph type="ctrTitle"/>
          </p:nvPr>
        </p:nvSpPr>
        <p:spPr/>
        <p:txBody>
          <a:bodyPr/>
          <a:lstStyle/>
          <a:p>
            <a:r>
              <a:rPr lang="en-GB"/>
              <a:t>Foams – what are they?</a:t>
            </a:r>
          </a:p>
        </p:txBody>
      </p:sp>
      <p:sp>
        <p:nvSpPr>
          <p:cNvPr id="3" name="Subtitle 2">
            <a:extLst>
              <a:ext uri="{FF2B5EF4-FFF2-40B4-BE49-F238E27FC236}">
                <a16:creationId xmlns:a16="http://schemas.microsoft.com/office/drawing/2014/main" id="{4C07C8EC-491D-DC59-399E-F7BCA3273684}"/>
              </a:ext>
            </a:extLst>
          </p:cNvPr>
          <p:cNvSpPr>
            <a:spLocks noGrp="1"/>
          </p:cNvSpPr>
          <p:nvPr>
            <p:ph type="subTitle" idx="1"/>
          </p:nvPr>
        </p:nvSpPr>
        <p:spPr/>
        <p:txBody>
          <a:bodyPr/>
          <a:lstStyle/>
          <a:p>
            <a:r>
              <a:rPr lang="en-GB"/>
              <a:t>As whisking continues the larger bubbles are broken down into very small bubbles. </a:t>
            </a:r>
          </a:p>
          <a:p>
            <a:r>
              <a:rPr lang="en-GB"/>
              <a:t>They are surrounded by a film of egg white and trapped in the mixture forming a foam. </a:t>
            </a:r>
          </a:p>
          <a:p>
            <a:r>
              <a:rPr lang="en-GB"/>
              <a:t>The action of whisking makes enough heat to slightly coagulate the egg protein giving some stability to the foam.</a:t>
            </a:r>
          </a:p>
          <a:p>
            <a:r>
              <a:rPr lang="en-GB"/>
              <a:t>The foam becomes, white, opaque, stiff and glossy. </a:t>
            </a:r>
          </a:p>
          <a:p>
            <a:r>
              <a:rPr lang="en-GB"/>
              <a:t>The stages in egg white foams are identified by their appearance:</a:t>
            </a:r>
          </a:p>
          <a:p>
            <a:pPr marL="0" indent="0">
              <a:buNone/>
            </a:pPr>
            <a:r>
              <a:rPr lang="en-GB"/>
              <a:t>	- slightly beaten</a:t>
            </a:r>
          </a:p>
          <a:p>
            <a:pPr marL="0" indent="0">
              <a:buNone/>
            </a:pPr>
            <a:r>
              <a:rPr lang="en-GB"/>
              <a:t>	- rounded peak</a:t>
            </a:r>
          </a:p>
          <a:p>
            <a:pPr marL="0" indent="0">
              <a:buNone/>
            </a:pPr>
            <a:r>
              <a:rPr lang="en-GB"/>
              <a:t>	- peak </a:t>
            </a:r>
          </a:p>
          <a:p>
            <a:pPr marL="0" indent="0">
              <a:buNone/>
            </a:pPr>
            <a:endParaRPr lang="en-GB"/>
          </a:p>
          <a:p>
            <a:pPr marL="0" indent="0">
              <a:buNone/>
            </a:pPr>
            <a:endParaRPr lang="en-GB"/>
          </a:p>
          <a:p>
            <a:pPr marL="0" indent="0">
              <a:buNone/>
            </a:pPr>
            <a:endParaRPr lang="en-GB"/>
          </a:p>
          <a:p>
            <a:pPr lvl="1"/>
            <a:endParaRPr lang="en-GB"/>
          </a:p>
          <a:p>
            <a:pPr lvl="1"/>
            <a:endParaRPr lang="en-GB"/>
          </a:p>
        </p:txBody>
      </p:sp>
    </p:spTree>
    <p:extLst>
      <p:ext uri="{BB962C8B-B14F-4D97-AF65-F5344CB8AC3E}">
        <p14:creationId xmlns:p14="http://schemas.microsoft.com/office/powerpoint/2010/main" val="675444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179BE-A3A8-FE17-FBA1-B8FAC739C789}"/>
              </a:ext>
            </a:extLst>
          </p:cNvPr>
          <p:cNvSpPr>
            <a:spLocks noGrp="1"/>
          </p:cNvSpPr>
          <p:nvPr>
            <p:ph type="ctrTitle"/>
          </p:nvPr>
        </p:nvSpPr>
        <p:spPr/>
        <p:txBody>
          <a:bodyPr/>
          <a:lstStyle/>
          <a:p>
            <a:r>
              <a:rPr lang="en-GB"/>
              <a:t>Applying the science </a:t>
            </a:r>
          </a:p>
        </p:txBody>
      </p:sp>
      <p:sp>
        <p:nvSpPr>
          <p:cNvPr id="3" name="Subtitle 2">
            <a:extLst>
              <a:ext uri="{FF2B5EF4-FFF2-40B4-BE49-F238E27FC236}">
                <a16:creationId xmlns:a16="http://schemas.microsoft.com/office/drawing/2014/main" id="{9CB05283-A066-7E49-733F-F36B714927DE}"/>
              </a:ext>
            </a:extLst>
          </p:cNvPr>
          <p:cNvSpPr>
            <a:spLocks noGrp="1"/>
          </p:cNvSpPr>
          <p:nvPr>
            <p:ph type="subTitle" idx="1"/>
          </p:nvPr>
        </p:nvSpPr>
        <p:spPr>
          <a:xfrm>
            <a:off x="1169276" y="2571091"/>
            <a:ext cx="2867886" cy="3732341"/>
          </a:xfrm>
          <a:ln>
            <a:solidFill>
              <a:srgbClr val="EF9F3F"/>
            </a:solidFill>
          </a:ln>
        </p:spPr>
        <p:txBody>
          <a:bodyPr/>
          <a:lstStyle/>
          <a:p>
            <a:pPr marL="0" indent="0" algn="ctr">
              <a:buNone/>
            </a:pPr>
            <a:r>
              <a:rPr lang="en-GB" sz="1600"/>
              <a:t>Slightly beaten</a:t>
            </a:r>
          </a:p>
          <a:p>
            <a:pPr marL="0" indent="0" algn="ctr">
              <a:buNone/>
            </a:pPr>
            <a:r>
              <a:rPr lang="en-GB" sz="1600"/>
              <a:t>Egg white foams with large air bubbles.</a:t>
            </a:r>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endParaRPr lang="en-GB" sz="1600"/>
          </a:p>
          <a:p>
            <a:pPr marL="0" indent="0" algn="ctr">
              <a:buNone/>
            </a:pPr>
            <a:r>
              <a:rPr lang="en-GB" sz="1600"/>
              <a:t>Used for clarifying soups</a:t>
            </a:r>
          </a:p>
        </p:txBody>
      </p:sp>
      <p:sp>
        <p:nvSpPr>
          <p:cNvPr id="4" name="Subtitle 2">
            <a:extLst>
              <a:ext uri="{FF2B5EF4-FFF2-40B4-BE49-F238E27FC236}">
                <a16:creationId xmlns:a16="http://schemas.microsoft.com/office/drawing/2014/main" id="{70A471B7-7FEE-286F-1E68-5FF89C0B60B2}"/>
              </a:ext>
            </a:extLst>
          </p:cNvPr>
          <p:cNvSpPr txBox="1">
            <a:spLocks/>
          </p:cNvSpPr>
          <p:nvPr/>
        </p:nvSpPr>
        <p:spPr>
          <a:xfrm>
            <a:off x="8327768" y="2571092"/>
            <a:ext cx="2867886" cy="3732342"/>
          </a:xfrm>
          <a:prstGeom prst="rect">
            <a:avLst/>
          </a:prstGeom>
          <a:ln>
            <a:solidFill>
              <a:srgbClr val="EF9F3F"/>
            </a:solid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sz="1600"/>
              <a:t>Peak (pointed)</a:t>
            </a:r>
          </a:p>
          <a:p>
            <a:pPr marL="0" indent="0" algn="ctr">
              <a:buFont typeface="Arial" charset="0"/>
              <a:buNone/>
            </a:pPr>
            <a:r>
              <a:rPr lang="en-GB" sz="1600"/>
              <a:t>White, fine foam, glossy and smooth. Very small air bubbles. Stable foam.</a:t>
            </a:r>
          </a:p>
          <a:p>
            <a:pPr marL="0" indent="0" algn="ctr">
              <a:buFont typeface="Arial" charset="0"/>
              <a:buNone/>
            </a:pPr>
            <a:r>
              <a:rPr lang="en-GB" sz="1600"/>
              <a:t>Combines easily into mixtures. </a:t>
            </a:r>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r>
              <a:rPr lang="en-GB" sz="1600"/>
              <a:t>Used in meringues, souffles </a:t>
            </a:r>
          </a:p>
          <a:p>
            <a:pPr marL="0" indent="0" algn="ctr">
              <a:buFont typeface="Arial" charset="0"/>
              <a:buNone/>
            </a:pPr>
            <a:r>
              <a:rPr lang="en-GB" sz="1600"/>
              <a:t> </a:t>
            </a:r>
          </a:p>
          <a:p>
            <a:pPr marL="0" indent="0" algn="ctr">
              <a:buFont typeface="Arial" charset="0"/>
              <a:buNone/>
            </a:pPr>
            <a:endParaRPr lang="en-GB" sz="1600"/>
          </a:p>
          <a:p>
            <a:pPr marL="0" indent="0" algn="ctr">
              <a:buFont typeface="Arial" charset="0"/>
              <a:buNone/>
            </a:pPr>
            <a:endParaRPr lang="en-GB" sz="1600"/>
          </a:p>
        </p:txBody>
      </p:sp>
      <p:sp>
        <p:nvSpPr>
          <p:cNvPr id="5" name="Subtitle 2">
            <a:extLst>
              <a:ext uri="{FF2B5EF4-FFF2-40B4-BE49-F238E27FC236}">
                <a16:creationId xmlns:a16="http://schemas.microsoft.com/office/drawing/2014/main" id="{3E25507F-139A-7679-960E-739A9220476B}"/>
              </a:ext>
            </a:extLst>
          </p:cNvPr>
          <p:cNvSpPr txBox="1">
            <a:spLocks/>
          </p:cNvSpPr>
          <p:nvPr/>
        </p:nvSpPr>
        <p:spPr>
          <a:xfrm>
            <a:off x="4750939" y="2571092"/>
            <a:ext cx="2867886" cy="3732342"/>
          </a:xfrm>
          <a:prstGeom prst="rect">
            <a:avLst/>
          </a:prstGeom>
          <a:ln>
            <a:solidFill>
              <a:srgbClr val="EF9F3F"/>
            </a:solidFill>
          </a:ln>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gn="ctr">
              <a:buFont typeface="Arial" charset="0"/>
              <a:buNone/>
            </a:pPr>
            <a:r>
              <a:rPr lang="en-GB" sz="1600"/>
              <a:t>Peak (rounded)</a:t>
            </a:r>
          </a:p>
          <a:p>
            <a:pPr marL="0" indent="0" algn="ctr">
              <a:buFont typeface="Arial" charset="0"/>
              <a:buNone/>
            </a:pPr>
            <a:r>
              <a:rPr lang="en-GB" sz="1600"/>
              <a:t>White, shiny, glossy foam. Small air bubbles. Liquid separates out easily. </a:t>
            </a:r>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endParaRPr lang="en-GB" sz="1600"/>
          </a:p>
          <a:p>
            <a:pPr marL="0" indent="0" algn="ctr">
              <a:buFont typeface="Arial" charset="0"/>
              <a:buNone/>
            </a:pPr>
            <a:r>
              <a:rPr lang="en-GB" sz="1600"/>
              <a:t>Used for soft meringue pie topping</a:t>
            </a:r>
          </a:p>
        </p:txBody>
      </p:sp>
      <p:pic>
        <p:nvPicPr>
          <p:cNvPr id="8" name="Picture 7">
            <a:extLst>
              <a:ext uri="{FF2B5EF4-FFF2-40B4-BE49-F238E27FC236}">
                <a16:creationId xmlns:a16="http://schemas.microsoft.com/office/drawing/2014/main" id="{902B27AF-54CF-D6E5-23C4-69E280635938}"/>
              </a:ext>
            </a:extLst>
          </p:cNvPr>
          <p:cNvPicPr>
            <a:picLocks noChangeAspect="1"/>
          </p:cNvPicPr>
          <p:nvPr/>
        </p:nvPicPr>
        <p:blipFill rotWithShape="1">
          <a:blip r:embed="rId3"/>
          <a:srcRect l="8482" t="8950"/>
          <a:stretch/>
        </p:blipFill>
        <p:spPr>
          <a:xfrm>
            <a:off x="1165528" y="3505891"/>
            <a:ext cx="2867886" cy="2145610"/>
          </a:xfrm>
          <a:prstGeom prst="rect">
            <a:avLst/>
          </a:prstGeom>
        </p:spPr>
      </p:pic>
      <p:pic>
        <p:nvPicPr>
          <p:cNvPr id="10" name="Picture 9" descr="A picture containing table, cup, food&#10;&#10;Description automatically generated">
            <a:extLst>
              <a:ext uri="{FF2B5EF4-FFF2-40B4-BE49-F238E27FC236}">
                <a16:creationId xmlns:a16="http://schemas.microsoft.com/office/drawing/2014/main" id="{75F2FF7C-3C42-D996-E88B-2435B3A66FC1}"/>
              </a:ext>
            </a:extLst>
          </p:cNvPr>
          <p:cNvPicPr>
            <a:picLocks noChangeAspect="1"/>
          </p:cNvPicPr>
          <p:nvPr/>
        </p:nvPicPr>
        <p:blipFill rotWithShape="1">
          <a:blip r:embed="rId4"/>
          <a:srcRect l="2955" r="2955"/>
          <a:stretch/>
        </p:blipFill>
        <p:spPr>
          <a:xfrm>
            <a:off x="4750938" y="3633725"/>
            <a:ext cx="2867887" cy="2017776"/>
          </a:xfrm>
          <a:prstGeom prst="rect">
            <a:avLst/>
          </a:prstGeom>
        </p:spPr>
      </p:pic>
      <p:pic>
        <p:nvPicPr>
          <p:cNvPr id="12" name="Picture 11" descr="A picture containing food, cup, plate, coffee&#10;&#10;Description automatically generated">
            <a:extLst>
              <a:ext uri="{FF2B5EF4-FFF2-40B4-BE49-F238E27FC236}">
                <a16:creationId xmlns:a16="http://schemas.microsoft.com/office/drawing/2014/main" id="{38E5342D-AED6-7CFC-9F93-C4A7659811D7}"/>
              </a:ext>
            </a:extLst>
          </p:cNvPr>
          <p:cNvPicPr>
            <a:picLocks noChangeAspect="1"/>
          </p:cNvPicPr>
          <p:nvPr/>
        </p:nvPicPr>
        <p:blipFill rotWithShape="1">
          <a:blip r:embed="rId5"/>
          <a:srcRect t="3516" b="4636"/>
          <a:stretch/>
        </p:blipFill>
        <p:spPr>
          <a:xfrm>
            <a:off x="8327768" y="3953933"/>
            <a:ext cx="2874625" cy="1761067"/>
          </a:xfrm>
          <a:prstGeom prst="rect">
            <a:avLst/>
          </a:prstGeom>
        </p:spPr>
      </p:pic>
    </p:spTree>
    <p:extLst>
      <p:ext uri="{BB962C8B-B14F-4D97-AF65-F5344CB8AC3E}">
        <p14:creationId xmlns:p14="http://schemas.microsoft.com/office/powerpoint/2010/main" val="4129383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s</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7069202" cy="3600000"/>
          </a:xfrm>
        </p:spPr>
        <p:txBody>
          <a:bodyPr/>
          <a:lstStyle/>
          <a:p>
            <a:pPr marL="0" indent="0">
              <a:buNone/>
            </a:pPr>
            <a:r>
              <a:rPr lang="en-GB" b="1" dirty="0"/>
              <a:t>Fact 1. </a:t>
            </a:r>
            <a:r>
              <a:rPr lang="en-GB" dirty="0"/>
              <a:t>Egg whites at room temperature can be beaten to a foam more easily than cold egg whites.</a:t>
            </a:r>
          </a:p>
          <a:p>
            <a:pPr marL="0" indent="0">
              <a:buNone/>
            </a:pPr>
            <a:r>
              <a:rPr lang="en-GB" i="1"/>
              <a:t>Why is this? </a:t>
            </a:r>
            <a:endParaRPr lang="en-GB" i="1" dirty="0"/>
          </a:p>
          <a:p>
            <a:pPr marL="0" indent="0">
              <a:buNone/>
            </a:pPr>
            <a:endParaRPr lang="en-GB" i="1" dirty="0"/>
          </a:p>
          <a:p>
            <a:pPr marL="0" indent="0">
              <a:buNone/>
            </a:pPr>
            <a:r>
              <a:rPr lang="en-GB" b="1" dirty="0"/>
              <a:t>Fact 2. </a:t>
            </a:r>
            <a:r>
              <a:rPr lang="en-GB" dirty="0"/>
              <a:t>Sugar is added to a foam to make meringue.</a:t>
            </a:r>
          </a:p>
          <a:p>
            <a:pPr marL="0" indent="0">
              <a:buNone/>
            </a:pPr>
            <a:r>
              <a:rPr lang="en-GB" i="1" dirty="0"/>
              <a:t>Does it make a difference? </a:t>
            </a:r>
          </a:p>
          <a:p>
            <a:pPr marL="0" indent="0">
              <a:buNone/>
            </a:pPr>
            <a:endParaRPr lang="en-GB" i="1" dirty="0"/>
          </a:p>
          <a:p>
            <a:pPr marL="0" indent="0">
              <a:buNone/>
            </a:pPr>
            <a:r>
              <a:rPr lang="en-GB" b="1" dirty="0"/>
              <a:t>Fact 3. </a:t>
            </a:r>
            <a:r>
              <a:rPr lang="en-GB" dirty="0"/>
              <a:t>Adding vinegar or other acid, helps to strengthen and stabilise the foam. </a:t>
            </a:r>
          </a:p>
          <a:p>
            <a:pPr marL="0" indent="0">
              <a:buNone/>
            </a:pPr>
            <a:r>
              <a:rPr lang="en-GB" i="1" dirty="0"/>
              <a:t>What is the science behind this fact?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pic>
        <p:nvPicPr>
          <p:cNvPr id="5" name="Picture 4" descr="A group of white cupcakes&#10;&#10;Description automatically generated with medium confidence">
            <a:extLst>
              <a:ext uri="{FF2B5EF4-FFF2-40B4-BE49-F238E27FC236}">
                <a16:creationId xmlns:a16="http://schemas.microsoft.com/office/drawing/2014/main" id="{41FCB276-0605-8F2C-8ED9-C501B04CD34E}"/>
              </a:ext>
            </a:extLst>
          </p:cNvPr>
          <p:cNvPicPr>
            <a:picLocks noChangeAspect="1"/>
          </p:cNvPicPr>
          <p:nvPr/>
        </p:nvPicPr>
        <p:blipFill>
          <a:blip r:embed="rId3"/>
          <a:stretch>
            <a:fillRect/>
          </a:stretch>
        </p:blipFill>
        <p:spPr>
          <a:xfrm>
            <a:off x="8683218" y="2963752"/>
            <a:ext cx="3107267" cy="2330450"/>
          </a:xfrm>
          <a:prstGeom prst="rect">
            <a:avLst/>
          </a:prstGeom>
        </p:spPr>
      </p:pic>
    </p:spTree>
    <p:extLst>
      <p:ext uri="{BB962C8B-B14F-4D97-AF65-F5344CB8AC3E}">
        <p14:creationId xmlns:p14="http://schemas.microsoft.com/office/powerpoint/2010/main" val="4215964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 1</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9850416" cy="1227185"/>
          </a:xfrm>
        </p:spPr>
        <p:txBody>
          <a:bodyPr/>
          <a:lstStyle/>
          <a:p>
            <a:pPr marL="0" indent="0">
              <a:buNone/>
            </a:pPr>
            <a:r>
              <a:rPr lang="en-GB" b="1" dirty="0"/>
              <a:t>Fact 1. </a:t>
            </a:r>
            <a:r>
              <a:rPr lang="en-GB" dirty="0"/>
              <a:t>Egg whites at room temperature can be beaten to a foam more easily than cold egg whites.</a:t>
            </a:r>
          </a:p>
          <a:p>
            <a:pPr marL="0" indent="0">
              <a:buNone/>
            </a:pPr>
            <a:r>
              <a:rPr lang="en-GB" i="1" dirty="0"/>
              <a:t>Why is this? </a:t>
            </a:r>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4A3023DE-ADB7-B949-59A6-4C7C4D2AA727}"/>
              </a:ext>
            </a:extLst>
          </p:cNvPr>
          <p:cNvSpPr txBox="1">
            <a:spLocks/>
          </p:cNvSpPr>
          <p:nvPr/>
        </p:nvSpPr>
        <p:spPr>
          <a:xfrm>
            <a:off x="1169274" y="3997569"/>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Warmer egg whites will foam up better than cold ones from the fridge. This is because the proteins strands can move more at the higher temperature and are already starting to unfurl.</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213392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 2</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10342786" cy="957554"/>
          </a:xfrm>
        </p:spPr>
        <p:txBody>
          <a:bodyPr/>
          <a:lstStyle/>
          <a:p>
            <a:pPr marL="0" indent="0">
              <a:buNone/>
            </a:pPr>
            <a:r>
              <a:rPr lang="en-GB" b="1" dirty="0"/>
              <a:t>Fact 2. </a:t>
            </a:r>
            <a:r>
              <a:rPr lang="en-GB" dirty="0"/>
              <a:t>Sugar is added to a foam to make meringue.</a:t>
            </a:r>
          </a:p>
          <a:p>
            <a:pPr marL="0" indent="0">
              <a:buNone/>
            </a:pPr>
            <a:r>
              <a:rPr lang="en-GB" i="1" dirty="0"/>
              <a:t>Does it make a difference?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8DDD7D79-BD9E-F93F-CC29-250834ED48A8}"/>
              </a:ext>
            </a:extLst>
          </p:cNvPr>
          <p:cNvSpPr txBox="1">
            <a:spLocks/>
          </p:cNvSpPr>
          <p:nvPr/>
        </p:nvSpPr>
        <p:spPr>
          <a:xfrm>
            <a:off x="1169274" y="3528646"/>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Adding sugar at the beginning can double the time you have to whisk the egg whites to get a foam. Sugar will dissolve in the water (liquid) from the egg white. As a result, it increases the viscosity of the watery phase. The sugar molecules get in the way of the egg proteins. With sugar molecules in the way, it takes longer for the proteins to ‘find’ each other and form bonds.</a:t>
            </a:r>
          </a:p>
          <a:p>
            <a:pPr marL="0" indent="0">
              <a:lnSpc>
                <a:spcPct val="100000"/>
              </a:lnSpc>
              <a:buFont typeface="Arial" charset="0"/>
              <a:buNone/>
            </a:pPr>
            <a:r>
              <a:rPr lang="en-GB" dirty="0"/>
              <a:t>When meringue is cooking, sugar helps keep it stable by bonding with water molecules and preventing them from escaping as water vapor. Delaying the evaporation of water from the foam helps keep the foam stable until it stiffens.</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406621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EA55-F278-4CD6-76C9-B3B0388053F6}"/>
              </a:ext>
            </a:extLst>
          </p:cNvPr>
          <p:cNvSpPr>
            <a:spLocks noGrp="1"/>
          </p:cNvSpPr>
          <p:nvPr>
            <p:ph type="ctrTitle"/>
          </p:nvPr>
        </p:nvSpPr>
        <p:spPr/>
        <p:txBody>
          <a:bodyPr/>
          <a:lstStyle/>
          <a:p>
            <a:r>
              <a:rPr lang="en-GB" dirty="0"/>
              <a:t>Questions</a:t>
            </a:r>
          </a:p>
        </p:txBody>
      </p:sp>
      <p:sp>
        <p:nvSpPr>
          <p:cNvPr id="3" name="Subtitle 2">
            <a:extLst>
              <a:ext uri="{FF2B5EF4-FFF2-40B4-BE49-F238E27FC236}">
                <a16:creationId xmlns:a16="http://schemas.microsoft.com/office/drawing/2014/main" id="{C5155838-FA10-23A4-D2AB-128F173436D0}"/>
              </a:ext>
            </a:extLst>
          </p:cNvPr>
          <p:cNvSpPr>
            <a:spLocks noGrp="1"/>
          </p:cNvSpPr>
          <p:nvPr>
            <p:ph type="subTitle" idx="1"/>
          </p:nvPr>
        </p:nvSpPr>
        <p:spPr>
          <a:xfrm>
            <a:off x="1169276" y="2571092"/>
            <a:ext cx="10131770" cy="857908"/>
          </a:xfrm>
        </p:spPr>
        <p:txBody>
          <a:bodyPr/>
          <a:lstStyle/>
          <a:p>
            <a:pPr marL="0" indent="0">
              <a:buNone/>
            </a:pPr>
            <a:r>
              <a:rPr lang="en-GB" b="1" dirty="0"/>
              <a:t>Fact 3. </a:t>
            </a:r>
            <a:r>
              <a:rPr lang="en-GB" dirty="0"/>
              <a:t>Adding vinegar or other acid, helps to strengthen and stabilise the foam. </a:t>
            </a:r>
          </a:p>
          <a:p>
            <a:pPr marL="0" indent="0">
              <a:buNone/>
            </a:pPr>
            <a:r>
              <a:rPr lang="en-GB" i="1" dirty="0"/>
              <a:t>What is the science behind this fact? </a:t>
            </a:r>
          </a:p>
          <a:p>
            <a:pPr marL="0" indent="0">
              <a:buNone/>
            </a:pPr>
            <a:endParaRPr lang="en-GB" i="1" dirty="0"/>
          </a:p>
          <a:p>
            <a:pPr marL="0" indent="0">
              <a:buNone/>
            </a:pPr>
            <a:endParaRPr lang="en-GB" i="1" dirty="0"/>
          </a:p>
          <a:p>
            <a:pPr marL="0" indent="0">
              <a:buNone/>
            </a:pPr>
            <a:endParaRPr lang="en-GB" dirty="0"/>
          </a:p>
          <a:p>
            <a:pPr marL="0" indent="0">
              <a:buNone/>
            </a:pPr>
            <a:endParaRPr lang="en-GB" i="1" dirty="0"/>
          </a:p>
          <a:p>
            <a:pPr marL="0" indent="0">
              <a:buNone/>
            </a:pPr>
            <a:endParaRPr lang="en-GB" i="1" dirty="0"/>
          </a:p>
          <a:p>
            <a:pPr marL="0" indent="0">
              <a:buNone/>
            </a:pPr>
            <a:endParaRPr lang="en-GB" dirty="0"/>
          </a:p>
        </p:txBody>
      </p:sp>
      <p:sp>
        <p:nvSpPr>
          <p:cNvPr id="4" name="Subtitle 2">
            <a:extLst>
              <a:ext uri="{FF2B5EF4-FFF2-40B4-BE49-F238E27FC236}">
                <a16:creationId xmlns:a16="http://schemas.microsoft.com/office/drawing/2014/main" id="{CA763E49-A043-D551-3057-046480EC4115}"/>
              </a:ext>
            </a:extLst>
          </p:cNvPr>
          <p:cNvSpPr txBox="1">
            <a:spLocks/>
          </p:cNvSpPr>
          <p:nvPr/>
        </p:nvSpPr>
        <p:spPr>
          <a:xfrm>
            <a:off x="1169274" y="3716294"/>
            <a:ext cx="10131770" cy="857908"/>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lnSpc>
                <a:spcPct val="100000"/>
              </a:lnSpc>
              <a:buFont typeface="Arial" charset="0"/>
              <a:buNone/>
            </a:pPr>
            <a:r>
              <a:rPr lang="en-GB" b="1" dirty="0"/>
              <a:t>Answer: </a:t>
            </a:r>
            <a:br>
              <a:rPr lang="en-GB" b="1" dirty="0"/>
            </a:br>
            <a:r>
              <a:rPr lang="en-GB" dirty="0"/>
              <a:t>Adding vinegar (or any other acid) can make the foam less likely to become lumpy and collapse. They do this by donating positively-charged hydrogen ions to the egg white’s negatively-charged protein strands, which neutralises the meringue. This slows down the time it takes for the egg whites’ proteins to denature and allows more air to be incorporated before the meringue becomes over-beaten.</a:t>
            </a:r>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a:p>
            <a:pPr marL="0" indent="0">
              <a:lnSpc>
                <a:spcPct val="100000"/>
              </a:lnSpc>
              <a:buFont typeface="Arial" charset="0"/>
              <a:buNone/>
            </a:pPr>
            <a:endParaRPr lang="en-GB" i="1" dirty="0"/>
          </a:p>
          <a:p>
            <a:pPr marL="0" indent="0">
              <a:lnSpc>
                <a:spcPct val="100000"/>
              </a:lnSpc>
              <a:buFont typeface="Arial" charset="0"/>
              <a:buNone/>
            </a:pPr>
            <a:endParaRPr lang="en-GB" i="1" dirty="0"/>
          </a:p>
          <a:p>
            <a:pPr marL="0" indent="0">
              <a:lnSpc>
                <a:spcPct val="100000"/>
              </a:lnSpc>
              <a:buFont typeface="Arial" charset="0"/>
              <a:buNone/>
            </a:pPr>
            <a:endParaRPr lang="en-GB" dirty="0"/>
          </a:p>
        </p:txBody>
      </p:sp>
    </p:spTree>
    <p:extLst>
      <p:ext uri="{BB962C8B-B14F-4D97-AF65-F5344CB8AC3E}">
        <p14:creationId xmlns:p14="http://schemas.microsoft.com/office/powerpoint/2010/main" val="41657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30DEE-4768-83D0-54D4-7D19C584700B}"/>
              </a:ext>
            </a:extLst>
          </p:cNvPr>
          <p:cNvSpPr>
            <a:spLocks noGrp="1"/>
          </p:cNvSpPr>
          <p:nvPr>
            <p:ph type="ctrTitle"/>
          </p:nvPr>
        </p:nvSpPr>
        <p:spPr/>
        <p:txBody>
          <a:bodyPr/>
          <a:lstStyle/>
          <a:p>
            <a:r>
              <a:rPr lang="en-US">
                <a:latin typeface="Arial"/>
                <a:cs typeface="Arial"/>
              </a:rPr>
              <a:t>Foams – investigating functional properties</a:t>
            </a:r>
            <a:endParaRPr lang="en-US"/>
          </a:p>
        </p:txBody>
      </p:sp>
      <p:sp>
        <p:nvSpPr>
          <p:cNvPr id="3" name="Subtitle 2">
            <a:extLst>
              <a:ext uri="{FF2B5EF4-FFF2-40B4-BE49-F238E27FC236}">
                <a16:creationId xmlns:a16="http://schemas.microsoft.com/office/drawing/2014/main" id="{88C80544-D972-5414-9AD8-744769A39182}"/>
              </a:ext>
            </a:extLst>
          </p:cNvPr>
          <p:cNvSpPr>
            <a:spLocks noGrp="1"/>
          </p:cNvSpPr>
          <p:nvPr>
            <p:ph type="subTitle" idx="1"/>
          </p:nvPr>
        </p:nvSpPr>
        <p:spPr>
          <a:xfrm>
            <a:off x="1169276" y="2571092"/>
            <a:ext cx="9839738" cy="3600000"/>
          </a:xfrm>
        </p:spPr>
        <p:txBody>
          <a:bodyPr/>
          <a:lstStyle/>
          <a:p>
            <a:pPr marL="0" indent="0">
              <a:buNone/>
            </a:pPr>
            <a:r>
              <a:rPr lang="en-US">
                <a:latin typeface="Arial"/>
                <a:cs typeface="Arial"/>
              </a:rPr>
              <a:t>Investigate the stability of egg white foams.   </a:t>
            </a:r>
            <a:endParaRPr lang="en-US"/>
          </a:p>
          <a:p>
            <a:pPr marL="0" indent="0">
              <a:buNone/>
            </a:pPr>
            <a:r>
              <a:rPr lang="en-US">
                <a:latin typeface="Arial"/>
                <a:cs typeface="Arial"/>
              </a:rPr>
              <a:t>Discuss with the pupils:</a:t>
            </a:r>
            <a:endParaRPr lang="en-US"/>
          </a:p>
          <a:p>
            <a:pPr marL="342900" indent="-342900"/>
            <a:r>
              <a:rPr lang="en-US">
                <a:latin typeface="Arial"/>
                <a:cs typeface="Arial"/>
              </a:rPr>
              <a:t>Key and command words.</a:t>
            </a:r>
            <a:endParaRPr lang="en-US">
              <a:cs typeface="Arial"/>
            </a:endParaRPr>
          </a:p>
          <a:p>
            <a:pPr marL="342900" indent="-342900"/>
            <a:r>
              <a:rPr lang="en-US">
                <a:latin typeface="Arial"/>
                <a:cs typeface="Arial"/>
              </a:rPr>
              <a:t>The principles of a food investigation.</a:t>
            </a:r>
            <a:endParaRPr lang="en-US">
              <a:cs typeface="Arial"/>
            </a:endParaRPr>
          </a:p>
          <a:p>
            <a:pPr marL="342900" indent="-342900"/>
            <a:r>
              <a:rPr lang="en-US">
                <a:latin typeface="Arial"/>
                <a:cs typeface="Arial"/>
              </a:rPr>
              <a:t>How to plan and carry out a </a:t>
            </a:r>
            <a:r>
              <a:rPr lang="en-US">
                <a:latin typeface="Arial"/>
                <a:cs typeface="Arial"/>
                <a:hlinkClick r:id="rId2"/>
              </a:rPr>
              <a:t>food investigation</a:t>
            </a:r>
            <a:r>
              <a:rPr lang="en-US">
                <a:latin typeface="Arial"/>
                <a:cs typeface="Arial"/>
              </a:rPr>
              <a:t>. </a:t>
            </a:r>
            <a:endParaRPr lang="en-US"/>
          </a:p>
          <a:p>
            <a:pPr marL="342900" indent="-342900"/>
            <a:r>
              <a:rPr lang="en-US">
                <a:latin typeface="Arial"/>
                <a:cs typeface="Arial"/>
              </a:rPr>
              <a:t>The process/method that will be used.</a:t>
            </a:r>
            <a:endParaRPr lang="en-US"/>
          </a:p>
          <a:p>
            <a:pPr marL="342900" indent="-342900"/>
            <a:r>
              <a:rPr lang="en-US">
                <a:latin typeface="Arial"/>
                <a:cs typeface="Arial"/>
              </a:rPr>
              <a:t>The use of </a:t>
            </a:r>
            <a:r>
              <a:rPr lang="en-US">
                <a:latin typeface="Arial"/>
                <a:cs typeface="Arial"/>
                <a:hlinkClick r:id="rId3"/>
              </a:rPr>
              <a:t>sensory evaluation</a:t>
            </a:r>
            <a:r>
              <a:rPr lang="en-US">
                <a:latin typeface="Arial"/>
                <a:cs typeface="Arial"/>
              </a:rPr>
              <a:t>. </a:t>
            </a:r>
            <a:endParaRPr lang="en-US"/>
          </a:p>
          <a:p>
            <a:pPr marL="0" indent="0">
              <a:buNone/>
            </a:pPr>
            <a:endParaRPr lang="en-US"/>
          </a:p>
          <a:p>
            <a:pPr marL="0" indent="0">
              <a:buNone/>
            </a:pPr>
            <a:endParaRPr lang="en-US"/>
          </a:p>
          <a:p>
            <a:pPr marL="0" indent="0">
              <a:buNone/>
            </a:pPr>
            <a:endParaRPr lang="en-US"/>
          </a:p>
        </p:txBody>
      </p:sp>
    </p:spTree>
    <p:extLst>
      <p:ext uri="{BB962C8B-B14F-4D97-AF65-F5344CB8AC3E}">
        <p14:creationId xmlns:p14="http://schemas.microsoft.com/office/powerpoint/2010/main" val="8135452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B1D9-E25C-F40A-522B-54113616FBDB}"/>
              </a:ext>
            </a:extLst>
          </p:cNvPr>
          <p:cNvSpPr>
            <a:spLocks noGrp="1"/>
          </p:cNvSpPr>
          <p:nvPr>
            <p:ph type="ctrTitle"/>
          </p:nvPr>
        </p:nvSpPr>
        <p:spPr/>
        <p:txBody>
          <a:bodyPr/>
          <a:lstStyle/>
          <a:p>
            <a:r>
              <a:rPr lang="en-US">
                <a:latin typeface="Arial"/>
                <a:cs typeface="Arial"/>
              </a:rPr>
              <a:t>Colloidal systems and foams- activities</a:t>
            </a:r>
            <a:endParaRPr lang="en-US"/>
          </a:p>
        </p:txBody>
      </p:sp>
      <p:sp>
        <p:nvSpPr>
          <p:cNvPr id="3" name="Subtitle 2">
            <a:extLst>
              <a:ext uri="{FF2B5EF4-FFF2-40B4-BE49-F238E27FC236}">
                <a16:creationId xmlns:a16="http://schemas.microsoft.com/office/drawing/2014/main" id="{8CAB9D22-B491-9AFA-4800-DD173F69AF8D}"/>
              </a:ext>
            </a:extLst>
          </p:cNvPr>
          <p:cNvSpPr>
            <a:spLocks noGrp="1"/>
          </p:cNvSpPr>
          <p:nvPr>
            <p:ph type="subTitle" idx="1"/>
          </p:nvPr>
        </p:nvSpPr>
        <p:spPr/>
        <p:txBody>
          <a:bodyPr/>
          <a:lstStyle/>
          <a:p>
            <a:pPr marL="0" indent="0">
              <a:buNone/>
            </a:pPr>
            <a:r>
              <a:rPr lang="en-GB" b="1" i="1">
                <a:latin typeface="Arial"/>
                <a:cs typeface="Arial"/>
              </a:rPr>
              <a:t>Food – a fact of life</a:t>
            </a:r>
            <a:r>
              <a:rPr lang="en-GB" b="1">
                <a:latin typeface="Arial"/>
                <a:cs typeface="Arial"/>
              </a:rPr>
              <a:t> resources</a:t>
            </a:r>
          </a:p>
          <a:p>
            <a:r>
              <a:rPr lang="en-GB">
                <a:latin typeface="Arial"/>
                <a:cs typeface="Arial"/>
                <a:hlinkClick r:id="rId2"/>
              </a:rPr>
              <a:t>Milk foam presentation </a:t>
            </a:r>
            <a:r>
              <a:rPr lang="en-GB">
                <a:latin typeface="Arial"/>
                <a:cs typeface="Arial"/>
              </a:rPr>
              <a:t>and </a:t>
            </a:r>
            <a:r>
              <a:rPr lang="en-GB">
                <a:latin typeface="Arial"/>
                <a:cs typeface="Arial"/>
                <a:hlinkClick r:id="rId3"/>
              </a:rPr>
              <a:t>information sheet</a:t>
            </a:r>
            <a:r>
              <a:rPr lang="en-GB">
                <a:latin typeface="Arial"/>
                <a:cs typeface="Arial"/>
              </a:rPr>
              <a:t>. </a:t>
            </a:r>
          </a:p>
          <a:p>
            <a:pPr marL="342900" indent="-342900"/>
            <a:r>
              <a:rPr lang="en-GB">
                <a:latin typeface="Arial"/>
                <a:cs typeface="Arial"/>
              </a:rPr>
              <a:t>Protein foams </a:t>
            </a:r>
            <a:r>
              <a:rPr lang="en-GB">
                <a:latin typeface="Arial"/>
                <a:cs typeface="Arial"/>
                <a:hlinkClick r:id="rId4"/>
              </a:rPr>
              <a:t>worksheet</a:t>
            </a:r>
            <a:r>
              <a:rPr lang="en-GB">
                <a:latin typeface="Arial"/>
                <a:cs typeface="Arial"/>
              </a:rPr>
              <a:t>.   </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Functions of colloidal systems in food products </a:t>
            </a:r>
            <a:r>
              <a:rPr kumimoji="0" lang="en-GB" sz="2000" b="0" i="0" u="none" strike="noStrike" kern="1200" cap="none" spc="0" normalizeH="0" baseline="0" noProof="0">
                <a:ln>
                  <a:noFill/>
                </a:ln>
                <a:solidFill>
                  <a:prstClr val="black"/>
                </a:solidFill>
                <a:effectLst/>
                <a:uLnTx/>
                <a:uFillTx/>
                <a:latin typeface="Arial"/>
                <a:cs typeface="Arial"/>
                <a:hlinkClick r:id="rId5"/>
              </a:rPr>
              <a:t>presentation</a:t>
            </a:r>
            <a:endParaRPr kumimoji="0" lang="en-GB" sz="2000" b="0" i="0" u="none" strike="noStrike" kern="1200" cap="none" spc="0" normalizeH="0" baseline="0" noProof="0">
              <a:ln>
                <a:noFill/>
              </a:ln>
              <a:solidFill>
                <a:prstClr val="black"/>
              </a:solidFill>
              <a:effectLst/>
              <a:uLnTx/>
              <a:uFillTx/>
              <a:latin typeface="Arial"/>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Functions of colloidal systems in food products </a:t>
            </a:r>
            <a:r>
              <a:rPr kumimoji="0" lang="en-GB" sz="2000" b="0" i="0" u="none" strike="noStrike" kern="1200" cap="none" spc="0" normalizeH="0" baseline="0" noProof="0">
                <a:ln>
                  <a:noFill/>
                </a:ln>
                <a:solidFill>
                  <a:prstClr val="black"/>
                </a:solidFill>
                <a:effectLst/>
                <a:uLnTx/>
                <a:uFillTx/>
                <a:latin typeface="Arial"/>
                <a:cs typeface="Arial"/>
                <a:hlinkClick r:id="rId6"/>
              </a:rPr>
              <a:t>worksheet</a:t>
            </a:r>
            <a:r>
              <a:rPr kumimoji="0" lang="en-GB" sz="2000" b="0" i="0" u="none" strike="noStrike" kern="1200" cap="none" spc="0" normalizeH="0" baseline="0" noProof="0">
                <a:ln>
                  <a:noFill/>
                </a:ln>
                <a:solidFill>
                  <a:prstClr val="black"/>
                </a:solidFill>
                <a:effectLst/>
                <a:uLnTx/>
                <a:uFillTx/>
                <a:latin typeface="Arial"/>
                <a:cs typeface="Arial"/>
              </a:rPr>
              <a:t> </a:t>
            </a: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kumimoji="0" lang="en-GB" sz="2000" b="0" i="0" u="none" strike="noStrike" kern="1200" cap="none" spc="0" normalizeH="0" baseline="0" noProof="0">
                <a:ln>
                  <a:noFill/>
                </a:ln>
                <a:solidFill>
                  <a:prstClr val="black"/>
                </a:solidFill>
                <a:effectLst/>
                <a:uLnTx/>
                <a:uFillTx/>
                <a:latin typeface="Arial"/>
                <a:cs typeface="Arial"/>
              </a:rPr>
              <a:t>Ingredients - functional characteristics </a:t>
            </a:r>
            <a:r>
              <a:rPr kumimoji="0" lang="en-GB" sz="2000" b="0" i="0" u="none" strike="noStrike" kern="1200" cap="none" spc="0" normalizeH="0" baseline="0" noProof="0">
                <a:ln>
                  <a:noFill/>
                </a:ln>
                <a:solidFill>
                  <a:prstClr val="black"/>
                </a:solidFill>
                <a:effectLst/>
                <a:uLnTx/>
                <a:uFillTx/>
                <a:latin typeface="Arial"/>
                <a:cs typeface="Arial"/>
                <a:hlinkClick r:id="rId7"/>
              </a:rPr>
              <a:t>Knowledge Organiser 11-14</a:t>
            </a:r>
            <a:endParaRPr kumimoji="0" lang="en-GB" sz="2000" b="0" i="0" u="none" strike="noStrike" kern="1200" cap="none" spc="0" normalizeH="0" baseline="0" noProof="0">
              <a:ln>
                <a:noFill/>
              </a:ln>
              <a:solidFill>
                <a:prstClr val="black"/>
              </a:solidFill>
              <a:effectLst/>
              <a:uLnTx/>
              <a:uFillTx/>
              <a:latin typeface="Arial"/>
              <a:cs typeface="Arial"/>
            </a:endParaRPr>
          </a:p>
          <a:p>
            <a:pPr marL="342900" marR="0" lvl="0" indent="-342900" algn="l" defTabSz="914400" rtl="0" eaLnBrk="1" fontAlgn="auto" latinLnBrk="0" hangingPunct="1">
              <a:lnSpc>
                <a:spcPct val="90000"/>
              </a:lnSpc>
              <a:spcBef>
                <a:spcPts val="1000"/>
              </a:spcBef>
              <a:spcAft>
                <a:spcPts val="0"/>
              </a:spcAft>
              <a:buClrTx/>
              <a:buSzPct val="90000"/>
              <a:buFont typeface="Arial" charset="0"/>
              <a:buChar char="•"/>
              <a:tabLst/>
              <a:defRPr/>
            </a:pPr>
            <a:r>
              <a:rPr lang="en-GB">
                <a:solidFill>
                  <a:prstClr val="black"/>
                </a:solidFill>
                <a:latin typeface="Arial"/>
                <a:cs typeface="Arial"/>
              </a:rPr>
              <a:t>Colloids systems </a:t>
            </a:r>
            <a:r>
              <a:rPr lang="en-GB">
                <a:solidFill>
                  <a:prstClr val="black"/>
                </a:solidFill>
                <a:latin typeface="Arial"/>
                <a:cs typeface="Arial"/>
                <a:hlinkClick r:id="rId8"/>
              </a:rPr>
              <a:t>quiz</a:t>
            </a:r>
            <a:r>
              <a:rPr lang="en-GB">
                <a:solidFill>
                  <a:prstClr val="black"/>
                </a:solidFill>
                <a:latin typeface="Arial"/>
                <a:cs typeface="Arial"/>
              </a:rPr>
              <a:t> and </a:t>
            </a:r>
            <a:r>
              <a:rPr lang="en-GB">
                <a:solidFill>
                  <a:prstClr val="black"/>
                </a:solidFill>
                <a:latin typeface="Arial"/>
                <a:cs typeface="Arial"/>
                <a:hlinkClick r:id="rId9"/>
              </a:rPr>
              <a:t>answers</a:t>
            </a:r>
            <a:r>
              <a:rPr lang="en-GB">
                <a:solidFill>
                  <a:prstClr val="black"/>
                </a:solidFill>
                <a:latin typeface="Arial"/>
                <a:cs typeface="Arial"/>
              </a:rPr>
              <a:t> </a:t>
            </a:r>
          </a:p>
          <a:p>
            <a:pPr marL="0" indent="0">
              <a:buNone/>
              <a:defRPr/>
            </a:pPr>
            <a:r>
              <a:rPr lang="en-GB" b="1">
                <a:latin typeface="Arial"/>
                <a:cs typeface="Arial"/>
              </a:rPr>
              <a:t>External resources</a:t>
            </a:r>
          </a:p>
          <a:p>
            <a:pPr>
              <a:defRPr/>
            </a:pPr>
            <a:r>
              <a:rPr lang="en-GB">
                <a:latin typeface="Arial"/>
                <a:cs typeface="Arial"/>
              </a:rPr>
              <a:t>IFST Protein: </a:t>
            </a:r>
            <a:r>
              <a:rPr lang="en-GB">
                <a:latin typeface="Arial"/>
                <a:cs typeface="Arial"/>
                <a:hlinkClick r:id="rId10"/>
              </a:rPr>
              <a:t>Foam formation </a:t>
            </a:r>
            <a:endParaRPr lang="en-GB">
              <a:latin typeface="Arial"/>
              <a:cs typeface="Arial"/>
            </a:endParaRPr>
          </a:p>
          <a:p>
            <a:pPr marL="0" marR="0" lvl="0" indent="0" algn="l" defTabSz="914400" rtl="0" eaLnBrk="1" fontAlgn="auto" latinLnBrk="0" hangingPunct="1">
              <a:lnSpc>
                <a:spcPct val="90000"/>
              </a:lnSpc>
              <a:spcBef>
                <a:spcPts val="1000"/>
              </a:spcBef>
              <a:spcAft>
                <a:spcPts val="0"/>
              </a:spcAft>
              <a:buClrTx/>
              <a:buSzPct val="90000"/>
              <a:buNone/>
              <a:tabLst/>
              <a:defRPr/>
            </a:pPr>
            <a:endParaRPr lang="en-GB" b="1">
              <a:latin typeface="Arial"/>
              <a:cs typeface="Arial"/>
            </a:endParaRPr>
          </a:p>
          <a:p>
            <a:pPr marL="0" indent="0">
              <a:buNone/>
            </a:pPr>
            <a:endParaRPr lang="en-GB">
              <a:cs typeface="Arial"/>
            </a:endParaRPr>
          </a:p>
          <a:p>
            <a:pPr marL="0" indent="0">
              <a:buNone/>
            </a:pPr>
            <a:endParaRPr lang="en-GB"/>
          </a:p>
          <a:p>
            <a:pPr marL="342900" indent="-342900"/>
            <a:endParaRPr lang="en-GB"/>
          </a:p>
          <a:p>
            <a:pPr marL="0" indent="0">
              <a:buNone/>
            </a:pPr>
            <a:endParaRPr lang="en-GB"/>
          </a:p>
        </p:txBody>
      </p:sp>
    </p:spTree>
    <p:extLst>
      <p:ext uri="{BB962C8B-B14F-4D97-AF65-F5344CB8AC3E}">
        <p14:creationId xmlns:p14="http://schemas.microsoft.com/office/powerpoint/2010/main" val="1628781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8A8EF-F36F-A666-B69E-5EF3756054E2}"/>
              </a:ext>
            </a:extLst>
          </p:cNvPr>
          <p:cNvSpPr>
            <a:spLocks noGrp="1"/>
          </p:cNvSpPr>
          <p:nvPr>
            <p:ph type="ctrTitle"/>
          </p:nvPr>
        </p:nvSpPr>
        <p:spPr/>
        <p:txBody>
          <a:bodyPr/>
          <a:lstStyle/>
          <a:p>
            <a:r>
              <a:rPr lang="en-US">
                <a:latin typeface="Arial"/>
                <a:cs typeface="Arial"/>
              </a:rPr>
              <a:t>Further supporting resources</a:t>
            </a:r>
            <a:endParaRPr lang="en-US"/>
          </a:p>
        </p:txBody>
      </p:sp>
      <p:sp>
        <p:nvSpPr>
          <p:cNvPr id="3" name="Subtitle 2">
            <a:extLst>
              <a:ext uri="{FF2B5EF4-FFF2-40B4-BE49-F238E27FC236}">
                <a16:creationId xmlns:a16="http://schemas.microsoft.com/office/drawing/2014/main" id="{2B2F653F-C430-F503-517E-CDF8E13CD0EC}"/>
              </a:ext>
            </a:extLst>
          </p:cNvPr>
          <p:cNvSpPr>
            <a:spLocks noGrp="1"/>
          </p:cNvSpPr>
          <p:nvPr>
            <p:ph type="subTitle" idx="1"/>
          </p:nvPr>
        </p:nvSpPr>
        <p:spPr/>
        <p:txBody>
          <a:bodyPr/>
          <a:lstStyle/>
          <a:p>
            <a:pPr>
              <a:buFont typeface="Arial"/>
              <a:buChar char="•"/>
            </a:pPr>
            <a:r>
              <a:rPr lang="en-GB" dirty="0"/>
              <a:t>IFST Protein: stability of egg white foams </a:t>
            </a:r>
            <a:r>
              <a:rPr lang="en-GB" dirty="0">
                <a:hlinkClick r:id="rId2"/>
              </a:rPr>
              <a:t>experiment</a:t>
            </a:r>
            <a:endParaRPr lang="en-GB" dirty="0"/>
          </a:p>
          <a:p>
            <a:pPr>
              <a:buFont typeface="Arial"/>
              <a:buChar char="•"/>
            </a:pPr>
            <a:endParaRPr lang="en-GB" dirty="0"/>
          </a:p>
          <a:p>
            <a:pPr marL="0" indent="0">
              <a:buNone/>
            </a:pPr>
            <a:endParaRPr lang="en-US" dirty="0"/>
          </a:p>
        </p:txBody>
      </p:sp>
      <p:sp>
        <p:nvSpPr>
          <p:cNvPr id="4" name="Subtitle 2">
            <a:extLst>
              <a:ext uri="{FF2B5EF4-FFF2-40B4-BE49-F238E27FC236}">
                <a16:creationId xmlns:a16="http://schemas.microsoft.com/office/drawing/2014/main" id="{D3445774-6C54-7EEC-6FDC-A10B90AAB57C}"/>
              </a:ext>
            </a:extLst>
          </p:cNvPr>
          <p:cNvSpPr txBox="1">
            <a:spLocks/>
          </p:cNvSpPr>
          <p:nvPr/>
        </p:nvSpPr>
        <p:spPr>
          <a:xfrm>
            <a:off x="1169272" y="3839775"/>
            <a:ext cx="5300400" cy="1745741"/>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GB" dirty="0">
                <a:hlinkClick r:id="rId3"/>
              </a:rPr>
              <a:t>Moussaka stuffed aubergine, topped with cheesy souffle sauce</a:t>
            </a:r>
            <a:endParaRPr lang="en-GB" dirty="0"/>
          </a:p>
          <a:p>
            <a:r>
              <a:rPr lang="en-GB" dirty="0">
                <a:hlinkClick r:id="rId4"/>
              </a:rPr>
              <a:t>Victoria sponge cake</a:t>
            </a:r>
            <a:endParaRPr lang="en-GB" dirty="0"/>
          </a:p>
          <a:p>
            <a:r>
              <a:rPr lang="en-GB" dirty="0">
                <a:hlinkClick r:id="rId5"/>
              </a:rPr>
              <a:t>Honey and walnut bread</a:t>
            </a:r>
            <a:endParaRPr lang="en-GB" dirty="0"/>
          </a:p>
          <a:p>
            <a:r>
              <a:rPr lang="en-GB" dirty="0">
                <a:hlinkClick r:id="rId6"/>
              </a:rPr>
              <a:t>Lemon cake with elderflower curd</a:t>
            </a:r>
            <a:endParaRPr lang="en-GB" dirty="0"/>
          </a:p>
          <a:p>
            <a:r>
              <a:rPr lang="en-GB" dirty="0">
                <a:hlinkClick r:id="rId7"/>
              </a:rPr>
              <a:t>Mealie bread</a:t>
            </a:r>
            <a:endParaRPr lang="en-GB" dirty="0"/>
          </a:p>
          <a:p>
            <a:r>
              <a:rPr lang="en-GB" dirty="0">
                <a:hlinkClick r:id="rId8"/>
              </a:rPr>
              <a:t>Wholemeal cottage loaf</a:t>
            </a:r>
            <a:endParaRPr lang="en-GB" dirty="0"/>
          </a:p>
          <a:p>
            <a:endParaRPr lang="en-GB" dirty="0"/>
          </a:p>
          <a:p>
            <a:endParaRPr lang="en-GB" dirty="0"/>
          </a:p>
          <a:p>
            <a:endParaRPr lang="en-GB" dirty="0"/>
          </a:p>
          <a:p>
            <a:pPr marL="0" indent="0">
              <a:buFont typeface="Arial" charset="0"/>
              <a:buNone/>
            </a:pPr>
            <a:endParaRPr lang="en-US" dirty="0"/>
          </a:p>
          <a:p>
            <a:endParaRPr lang="en-US" dirty="0"/>
          </a:p>
          <a:p>
            <a:endParaRPr lang="en-US" dirty="0"/>
          </a:p>
          <a:p>
            <a:endParaRPr lang="en-US" dirty="0"/>
          </a:p>
          <a:p>
            <a:endParaRPr lang="en-US" dirty="0"/>
          </a:p>
        </p:txBody>
      </p:sp>
      <p:sp>
        <p:nvSpPr>
          <p:cNvPr id="5" name="Title 1">
            <a:extLst>
              <a:ext uri="{FF2B5EF4-FFF2-40B4-BE49-F238E27FC236}">
                <a16:creationId xmlns:a16="http://schemas.microsoft.com/office/drawing/2014/main" id="{3D970188-9AE1-BE51-687C-3319645C551C}"/>
              </a:ext>
            </a:extLst>
          </p:cNvPr>
          <p:cNvSpPr txBox="1">
            <a:spLocks/>
          </p:cNvSpPr>
          <p:nvPr/>
        </p:nvSpPr>
        <p:spPr>
          <a:xfrm>
            <a:off x="1169274" y="3138222"/>
            <a:ext cx="9720000" cy="720000"/>
          </a:xfrm>
          <a:prstGeom prst="rect">
            <a:avLst/>
          </a:prstGeom>
        </p:spPr>
        <p:txBody>
          <a:bodyPr lIns="0" tIns="0" rIns="0" bIns="0" anchor="t"/>
          <a:lstStyle>
            <a:lvl1pPr algn="l" defTabSz="914400" rtl="0" eaLnBrk="1" latinLnBrk="0" hangingPunct="1">
              <a:lnSpc>
                <a:spcPct val="90000"/>
              </a:lnSpc>
              <a:spcBef>
                <a:spcPct val="0"/>
              </a:spcBef>
              <a:buNone/>
              <a:defRPr sz="3400" b="1" i="0" kern="1200">
                <a:solidFill>
                  <a:srgbClr val="EF9F3F"/>
                </a:solidFill>
                <a:latin typeface="Arial" charset="0"/>
                <a:ea typeface="Arial" charset="0"/>
                <a:cs typeface="Arial" charset="0"/>
              </a:defRPr>
            </a:lvl1pPr>
          </a:lstStyle>
          <a:p>
            <a:r>
              <a:rPr lang="en-US" dirty="0">
                <a:latin typeface="Arial"/>
                <a:cs typeface="Arial"/>
              </a:rPr>
              <a:t>Foams- recipes</a:t>
            </a:r>
            <a:endParaRPr lang="en-US" dirty="0"/>
          </a:p>
        </p:txBody>
      </p:sp>
    </p:spTree>
    <p:extLst>
      <p:ext uri="{BB962C8B-B14F-4D97-AF65-F5344CB8AC3E}">
        <p14:creationId xmlns:p14="http://schemas.microsoft.com/office/powerpoint/2010/main" val="2216651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6FD1-4489-F55F-822B-620888FD55A9}"/>
              </a:ext>
            </a:extLst>
          </p:cNvPr>
          <p:cNvSpPr>
            <a:spLocks noGrp="1"/>
          </p:cNvSpPr>
          <p:nvPr>
            <p:ph type="ctrTitle"/>
          </p:nvPr>
        </p:nvSpPr>
        <p:spPr/>
        <p:txBody>
          <a:bodyPr/>
          <a:lstStyle/>
          <a:p>
            <a:r>
              <a:rPr lang="en-GB"/>
              <a:t>The science of colloids</a:t>
            </a:r>
          </a:p>
        </p:txBody>
      </p:sp>
      <p:sp>
        <p:nvSpPr>
          <p:cNvPr id="3" name="Subtitle 2">
            <a:extLst>
              <a:ext uri="{FF2B5EF4-FFF2-40B4-BE49-F238E27FC236}">
                <a16:creationId xmlns:a16="http://schemas.microsoft.com/office/drawing/2014/main" id="{BE28E501-5A4E-D1A3-A7D8-65D153A748C4}"/>
              </a:ext>
            </a:extLst>
          </p:cNvPr>
          <p:cNvSpPr>
            <a:spLocks noGrp="1"/>
          </p:cNvSpPr>
          <p:nvPr>
            <p:ph type="subTitle" idx="1"/>
          </p:nvPr>
        </p:nvSpPr>
        <p:spPr>
          <a:xfrm>
            <a:off x="1169276" y="2571092"/>
            <a:ext cx="6545419" cy="3600000"/>
          </a:xfrm>
        </p:spPr>
        <p:txBody>
          <a:bodyPr/>
          <a:lstStyle/>
          <a:p>
            <a:pPr marL="0" indent="0">
              <a:buNone/>
            </a:pPr>
            <a:endParaRPr lang="en-GB"/>
          </a:p>
          <a:p>
            <a:pPr marL="0" indent="0">
              <a:buNone/>
            </a:pPr>
            <a:endParaRPr lang="en-GB"/>
          </a:p>
        </p:txBody>
      </p:sp>
      <p:sp>
        <p:nvSpPr>
          <p:cNvPr id="6" name="Subtitle 2">
            <a:extLst>
              <a:ext uri="{FF2B5EF4-FFF2-40B4-BE49-F238E27FC236}">
                <a16:creationId xmlns:a16="http://schemas.microsoft.com/office/drawing/2014/main" id="{37F21B2D-0E3B-42DC-85A8-4511EB39D461}"/>
              </a:ext>
            </a:extLst>
          </p:cNvPr>
          <p:cNvSpPr txBox="1">
            <a:spLocks/>
          </p:cNvSpPr>
          <p:nvPr/>
        </p:nvSpPr>
        <p:spPr>
          <a:xfrm>
            <a:off x="1169277" y="2571092"/>
            <a:ext cx="5847160"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buNone/>
              <a:defRPr/>
            </a:pPr>
            <a:r>
              <a:rPr lang="en-GB" altLang="en-US" sz="2000"/>
              <a:t>Colloids are formed when one substance is dispersed through another but does not form a solution. </a:t>
            </a:r>
          </a:p>
          <a:p>
            <a:pPr marL="0" indent="0">
              <a:buNone/>
              <a:defRPr/>
            </a:pPr>
            <a:r>
              <a:rPr lang="en-GB" altLang="en-US" sz="2000"/>
              <a:t>The substance which is dispersed is known as the </a:t>
            </a:r>
            <a:r>
              <a:rPr lang="en-GB" altLang="en-US" sz="2000" b="1"/>
              <a:t>disperse phase </a:t>
            </a:r>
            <a:r>
              <a:rPr lang="en-GB" altLang="en-US" sz="2000"/>
              <a:t>and it is suspended in the </a:t>
            </a:r>
            <a:r>
              <a:rPr lang="en-GB" altLang="en-US" sz="2000" b="1"/>
              <a:t>continuous phase</a:t>
            </a:r>
            <a:r>
              <a:rPr lang="en-GB" altLang="en-US" sz="2000"/>
              <a:t>.  </a:t>
            </a:r>
          </a:p>
          <a:p>
            <a:pPr marL="0" indent="0">
              <a:buNone/>
              <a:defRPr/>
            </a:pPr>
            <a:r>
              <a:rPr lang="en-GB" altLang="en-US" sz="2000"/>
              <a:t>Egg white foam is an example of this. Air bubbles (disperse phase) are trapped in the egg white (continuous phase), resulting in a foam.</a:t>
            </a:r>
          </a:p>
          <a:p>
            <a:pPr marL="0" indent="0">
              <a:buFont typeface="Arial" charset="0"/>
              <a:buNone/>
            </a:pPr>
            <a:endParaRPr lang="en-US"/>
          </a:p>
          <a:p>
            <a:pPr marL="0" indent="0">
              <a:buFont typeface="Arial" charset="0"/>
              <a:buNone/>
            </a:pPr>
            <a:endParaRPr lang="en-US"/>
          </a:p>
          <a:p>
            <a:pPr marL="0" indent="0">
              <a:buFont typeface="Arial" charset="0"/>
              <a:buNone/>
            </a:pPr>
            <a:endParaRPr lang="en-US"/>
          </a:p>
        </p:txBody>
      </p:sp>
      <p:pic>
        <p:nvPicPr>
          <p:cNvPr id="4" name="Picture 3">
            <a:extLst>
              <a:ext uri="{FF2B5EF4-FFF2-40B4-BE49-F238E27FC236}">
                <a16:creationId xmlns:a16="http://schemas.microsoft.com/office/drawing/2014/main" id="{6BF65E80-875A-049B-864B-E82AE16C51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695" y="3002872"/>
            <a:ext cx="3896459" cy="2598937"/>
          </a:xfrm>
          <a:prstGeom prst="rect">
            <a:avLst/>
          </a:prstGeom>
        </p:spPr>
      </p:pic>
    </p:spTree>
    <p:extLst>
      <p:ext uri="{BB962C8B-B14F-4D97-AF65-F5344CB8AC3E}">
        <p14:creationId xmlns:p14="http://schemas.microsoft.com/office/powerpoint/2010/main" val="2939149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84C499-0517-4887-96DB-81C9129ABB06}"/>
              </a:ext>
            </a:extLst>
          </p:cNvPr>
          <p:cNvGraphicFramePr>
            <a:graphicFrameLocks noChangeAspect="1"/>
          </p:cNvGraphicFramePr>
          <p:nvPr>
            <p:custDataLst>
              <p:tags r:id="rId1"/>
            </p:custDataLst>
            <p:extLst>
              <p:ext uri="{D42A27DB-BD31-4B8C-83A1-F6EECF244321}">
                <p14:modId xmlns:p14="http://schemas.microsoft.com/office/powerpoint/2010/main" val="427994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5" name="Object 4" hidden="1">
                        <a:extLst>
                          <a:ext uri="{FF2B5EF4-FFF2-40B4-BE49-F238E27FC236}">
                            <a16:creationId xmlns:a16="http://schemas.microsoft.com/office/drawing/2014/main" id="{FA84C499-0517-4887-96DB-81C9129AB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a:t>Foams</a:t>
            </a:r>
            <a:endParaRPr lang="en-GB"/>
          </a:p>
        </p:txBody>
      </p:sp>
      <p:sp>
        <p:nvSpPr>
          <p:cNvPr id="3" name="Subtitle 2"/>
          <p:cNvSpPr>
            <a:spLocks noGrp="1"/>
          </p:cNvSpPr>
          <p:nvPr>
            <p:ph type="subTitle" idx="1"/>
          </p:nvPr>
        </p:nvSpPr>
        <p:spPr>
          <a:xfrm>
            <a:off x="486577" y="3065488"/>
            <a:ext cx="11084100" cy="3087973"/>
          </a:xfrm>
        </p:spPr>
        <p:txBody>
          <a:bodyPr/>
          <a:lstStyle/>
          <a:p>
            <a:pPr marL="0" indent="0" algn="ctr">
              <a:buNone/>
            </a:pPr>
            <a:r>
              <a:rPr lang="en-GB" sz="3600" dirty="0"/>
              <a:t>For further information, go to:</a:t>
            </a:r>
          </a:p>
          <a:p>
            <a:pPr marL="0" indent="0" algn="ctr">
              <a:buNone/>
            </a:pPr>
            <a:r>
              <a:rPr lang="en-GB" sz="3600" dirty="0">
                <a:hlinkClick r:id="rId5"/>
              </a:rPr>
              <a:t>www.foodafactoflife.org.uk</a:t>
            </a:r>
            <a:endParaRPr lang="en-GB" sz="3600" dirty="0"/>
          </a:p>
          <a:p>
            <a:pPr marL="0" indent="0" algn="ctr">
              <a:buNone/>
            </a:pPr>
            <a:endParaRPr lang="en-GB" sz="3600" dirty="0"/>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endParaRPr>
          </a:p>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This food science pack is one of a series of resources produced for the </a:t>
            </a:r>
            <a:r>
              <a:rPr kumimoji="0" lang="en-GB" sz="1400" b="0" i="1"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Arial" charset="0"/>
              </a:rPr>
              <a:t>pHood</a:t>
            </a:r>
            <a:r>
              <a:rPr kumimoji="0" lang="en-GB" sz="1400" b="0" i="1"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 Futures </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charset="0"/>
              </a:rPr>
              <a:t>project, supported by the Royal Society of Chemistry.</a:t>
            </a:r>
            <a:endParaRPr kumimoji="0" lang="en-GB" sz="14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Arial" charset="0"/>
            </a:endParaRPr>
          </a:p>
          <a:p>
            <a:pPr marL="0" indent="0" algn="ctr">
              <a:buNone/>
            </a:pPr>
            <a:endParaRPr lang="en-GB" sz="3600" dirty="0"/>
          </a:p>
        </p:txBody>
      </p:sp>
      <p:sp>
        <p:nvSpPr>
          <p:cNvPr id="4" name="TextBox 3">
            <a:extLst>
              <a:ext uri="{FF2B5EF4-FFF2-40B4-BE49-F238E27FC236}">
                <a16:creationId xmlns:a16="http://schemas.microsoft.com/office/drawing/2014/main" id="{88C3A9D8-F056-4907-ADD0-8B883B971968}"/>
              </a:ext>
            </a:extLst>
          </p:cNvPr>
          <p:cNvSpPr txBox="1"/>
          <p:nvPr/>
        </p:nvSpPr>
        <p:spPr>
          <a:xfrm>
            <a:off x="486577" y="6116351"/>
            <a:ext cx="9904396"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a:latin typeface="Arial" panose="020B0604020202020204" pitchFamily="34" charset="0"/>
                <a:cs typeface="Arial" panose="020B0604020202020204" pitchFamily="34" charset="0"/>
              </a:rPr>
              <a:t>This resource meets the</a:t>
            </a:r>
            <a:r>
              <a:rPr lang="en-GB" sz="1400" b="1">
                <a:latin typeface="Arial" panose="020B0604020202020204" pitchFamily="34" charset="0"/>
                <a:cs typeface="Arial" panose="020B0604020202020204" pitchFamily="34" charset="0"/>
              </a:rPr>
              <a:t> </a:t>
            </a:r>
            <a:r>
              <a:rPr lang="en-GB" sz="1400" b="1" i="1" u="sng">
                <a:latin typeface="Arial" panose="020B0604020202020204" pitchFamily="34" charset="0"/>
                <a:cs typeface="Arial" panose="020B0604020202020204" pitchFamily="34" charset="0"/>
                <a:hlinkClick r:id="rId6"/>
              </a:rPr>
              <a:t>Guidelines for producers and users of school education resources about food</a:t>
            </a:r>
            <a:r>
              <a:rPr lang="en-GB" sz="1400" b="1" i="1">
                <a:latin typeface="Arial" panose="020B0604020202020204" pitchFamily="34" charset="0"/>
                <a:cs typeface="Arial" panose="020B0604020202020204" pitchFamily="34" charset="0"/>
              </a:rPr>
              <a:t>.</a:t>
            </a:r>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2005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0B668-94E7-2928-B8DE-651F1C430432}"/>
              </a:ext>
            </a:extLst>
          </p:cNvPr>
          <p:cNvSpPr>
            <a:spLocks noGrp="1"/>
          </p:cNvSpPr>
          <p:nvPr>
            <p:ph type="ctrTitle"/>
          </p:nvPr>
        </p:nvSpPr>
        <p:spPr/>
        <p:txBody>
          <a:bodyPr/>
          <a:lstStyle/>
          <a:p>
            <a:r>
              <a:rPr lang="en-GB"/>
              <a:t>Main types of colloidal systems</a:t>
            </a:r>
          </a:p>
        </p:txBody>
      </p:sp>
      <p:graphicFrame>
        <p:nvGraphicFramePr>
          <p:cNvPr id="4" name="Table 3">
            <a:extLst>
              <a:ext uri="{FF2B5EF4-FFF2-40B4-BE49-F238E27FC236}">
                <a16:creationId xmlns:a16="http://schemas.microsoft.com/office/drawing/2014/main" id="{25EF3100-623E-9F60-B8DB-D20FBD30A25F}"/>
              </a:ext>
            </a:extLst>
          </p:cNvPr>
          <p:cNvGraphicFramePr>
            <a:graphicFrameLocks noGrp="1"/>
          </p:cNvGraphicFramePr>
          <p:nvPr>
            <p:extLst>
              <p:ext uri="{D42A27DB-BD31-4B8C-83A1-F6EECF244321}">
                <p14:modId xmlns:p14="http://schemas.microsoft.com/office/powerpoint/2010/main" val="3958250747"/>
              </p:ext>
            </p:extLst>
          </p:nvPr>
        </p:nvGraphicFramePr>
        <p:xfrm>
          <a:off x="1169274" y="2283798"/>
          <a:ext cx="9293163" cy="3639139"/>
        </p:xfrm>
        <a:graphic>
          <a:graphicData uri="http://schemas.openxmlformats.org/drawingml/2006/table">
            <a:tbl>
              <a:tblPr/>
              <a:tblGrid>
                <a:gridCol w="1914168">
                  <a:extLst>
                    <a:ext uri="{9D8B030D-6E8A-4147-A177-3AD203B41FA5}">
                      <a16:colId xmlns:a16="http://schemas.microsoft.com/office/drawing/2014/main" val="20000"/>
                    </a:ext>
                  </a:extLst>
                </a:gridCol>
                <a:gridCol w="1440933">
                  <a:extLst>
                    <a:ext uri="{9D8B030D-6E8A-4147-A177-3AD203B41FA5}">
                      <a16:colId xmlns:a16="http://schemas.microsoft.com/office/drawing/2014/main" val="20001"/>
                    </a:ext>
                  </a:extLst>
                </a:gridCol>
                <a:gridCol w="1628775">
                  <a:extLst>
                    <a:ext uri="{9D8B030D-6E8A-4147-A177-3AD203B41FA5}">
                      <a16:colId xmlns:a16="http://schemas.microsoft.com/office/drawing/2014/main" val="20002"/>
                    </a:ext>
                  </a:extLst>
                </a:gridCol>
                <a:gridCol w="4309287">
                  <a:extLst>
                    <a:ext uri="{9D8B030D-6E8A-4147-A177-3AD203B41FA5}">
                      <a16:colId xmlns:a16="http://schemas.microsoft.com/office/drawing/2014/main" val="20003"/>
                    </a:ext>
                  </a:extLst>
                </a:gridCol>
              </a:tblGrid>
              <a:tr h="887298">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System</a:t>
                      </a:r>
                      <a:endParaRPr kumimoji="0" lang="en-US"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9F3F"/>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Disperse phase</a:t>
                      </a:r>
                      <a:endParaRPr kumimoji="0" lang="en-US"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9F3F"/>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Continuous phase</a:t>
                      </a:r>
                      <a:endParaRPr kumimoji="0" lang="en-US"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9F3F"/>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Product </a:t>
                      </a:r>
                      <a:endParaRPr kumimoji="0" lang="en-US" altLang="en-US" sz="20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9F3F"/>
                    </a:solidFill>
                  </a:tcPr>
                </a:tc>
                <a:extLst>
                  <a:ext uri="{0D108BD9-81ED-4DB2-BD59-A6C34878D82A}">
                    <a16:rowId xmlns:a16="http://schemas.microsoft.com/office/drawing/2014/main" val="10000"/>
                  </a:ext>
                </a:extLst>
              </a:tr>
              <a:tr h="442678">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Uncooked custard, unset jelly</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1"/>
                  </a:ext>
                </a:extLst>
              </a:tr>
              <a:tr h="464743">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el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Jelly, jam, blancmange</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2"/>
                  </a:ext>
                </a:extLst>
              </a:tr>
              <a:tr h="444774">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mulsion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ayonnaise, milk</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3"/>
                  </a:ext>
                </a:extLst>
              </a:tr>
              <a:tr h="508279">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 emulsion</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utter, baking fat/block</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4"/>
                  </a:ext>
                </a:extLst>
              </a:tr>
              <a:tr h="466549">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Foam</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as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iqu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Whipped cream, whisked egg white</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5"/>
                  </a:ext>
                </a:extLst>
              </a:tr>
              <a:tr h="424818">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 foam</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as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olid </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CE3C2"/>
                    </a:solidFill>
                  </a:tcPr>
                </a:tc>
                <a:tc>
                  <a:txBody>
                    <a:bodyPr/>
                    <a:lstStyle>
                      <a:lvl1pPr>
                        <a:spcBef>
                          <a:spcPct val="20000"/>
                        </a:spcBef>
                        <a:defRPr sz="2800">
                          <a:solidFill>
                            <a:schemeClr val="tx1"/>
                          </a:solidFill>
                          <a:latin typeface="Century Gothic" pitchFamily="34" charset="0"/>
                        </a:defRPr>
                      </a:lvl1pPr>
                      <a:lvl2pPr>
                        <a:spcBef>
                          <a:spcPct val="20000"/>
                        </a:spcBef>
                        <a:defRPr sz="2400">
                          <a:solidFill>
                            <a:schemeClr val="tx1"/>
                          </a:solidFill>
                          <a:latin typeface="Century Gothic" pitchFamily="34" charset="0"/>
                        </a:defRPr>
                      </a:lvl2pPr>
                      <a:lvl3pPr>
                        <a:spcBef>
                          <a:spcPct val="20000"/>
                        </a:spcBef>
                        <a:defRPr sz="2000">
                          <a:solidFill>
                            <a:schemeClr val="tx1"/>
                          </a:solidFill>
                          <a:latin typeface="Century Gothic" pitchFamily="34" charset="0"/>
                        </a:defRPr>
                      </a:lvl3pPr>
                      <a:lvl4pPr>
                        <a:spcBef>
                          <a:spcPct val="20000"/>
                        </a:spcBef>
                        <a:defRPr>
                          <a:solidFill>
                            <a:schemeClr val="tx1"/>
                          </a:solidFill>
                          <a:latin typeface="Century Gothic" pitchFamily="34" charset="0"/>
                        </a:defRPr>
                      </a:lvl4pPr>
                      <a:lvl5pPr>
                        <a:spcBef>
                          <a:spcPct val="20000"/>
                        </a:spcBef>
                        <a:defRPr>
                          <a:solidFill>
                            <a:schemeClr val="tx1"/>
                          </a:solidFill>
                          <a:latin typeface="Century Gothic" pitchFamily="34" charset="0"/>
                        </a:defRPr>
                      </a:lvl5pPr>
                      <a:lvl6pPr fontAlgn="base">
                        <a:spcBef>
                          <a:spcPct val="20000"/>
                        </a:spcBef>
                        <a:spcAft>
                          <a:spcPct val="0"/>
                        </a:spcAft>
                        <a:defRPr>
                          <a:solidFill>
                            <a:schemeClr val="tx1"/>
                          </a:solidFill>
                          <a:latin typeface="Century Gothic" pitchFamily="34" charset="0"/>
                        </a:defRPr>
                      </a:lvl6pPr>
                      <a:lvl7pPr fontAlgn="base">
                        <a:spcBef>
                          <a:spcPct val="20000"/>
                        </a:spcBef>
                        <a:spcAft>
                          <a:spcPct val="0"/>
                        </a:spcAft>
                        <a:defRPr>
                          <a:solidFill>
                            <a:schemeClr val="tx1"/>
                          </a:solidFill>
                          <a:latin typeface="Century Gothic" pitchFamily="34" charset="0"/>
                        </a:defRPr>
                      </a:lvl7pPr>
                      <a:lvl8pPr fontAlgn="base">
                        <a:spcBef>
                          <a:spcPct val="20000"/>
                        </a:spcBef>
                        <a:spcAft>
                          <a:spcPct val="0"/>
                        </a:spcAft>
                        <a:defRPr>
                          <a:solidFill>
                            <a:schemeClr val="tx1"/>
                          </a:solidFill>
                          <a:latin typeface="Century Gothic" pitchFamily="34" charset="0"/>
                        </a:defRPr>
                      </a:lvl8pPr>
                      <a:lvl9pPr fontAlgn="base">
                        <a:spcBef>
                          <a:spcPct val="20000"/>
                        </a:spcBef>
                        <a:spcAft>
                          <a:spcPct val="0"/>
                        </a:spcAft>
                        <a:defRPr>
                          <a:solidFill>
                            <a:schemeClr val="tx1"/>
                          </a:solidFill>
                          <a:latin typeface="Century Gothic"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eringue, bread, cake, ice cream</a:t>
                      </a:r>
                      <a:endParaRPr kumimoji="0" lang="en-US" altLang="en-US"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T="45714" marB="45714" anchor="ctr" horzOverflow="overflow">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CE3C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97295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01D9-49FA-6C29-3674-01A422037CD5}"/>
              </a:ext>
            </a:extLst>
          </p:cNvPr>
          <p:cNvSpPr>
            <a:spLocks noGrp="1"/>
          </p:cNvSpPr>
          <p:nvPr>
            <p:ph type="ctrTitle"/>
          </p:nvPr>
        </p:nvSpPr>
        <p:spPr/>
        <p:txBody>
          <a:bodyPr/>
          <a:lstStyle/>
          <a:p>
            <a:r>
              <a:rPr lang="en-GB"/>
              <a:t>Foams – what are they?</a:t>
            </a:r>
          </a:p>
        </p:txBody>
      </p:sp>
      <p:sp>
        <p:nvSpPr>
          <p:cNvPr id="8" name="Subtitle 2">
            <a:extLst>
              <a:ext uri="{FF2B5EF4-FFF2-40B4-BE49-F238E27FC236}">
                <a16:creationId xmlns:a16="http://schemas.microsoft.com/office/drawing/2014/main" id="{B6F4C906-C0D8-F664-A7BA-3956F17C80BF}"/>
              </a:ext>
            </a:extLst>
          </p:cNvPr>
          <p:cNvSpPr txBox="1">
            <a:spLocks/>
          </p:cNvSpPr>
          <p:nvPr/>
        </p:nvSpPr>
        <p:spPr>
          <a:xfrm>
            <a:off x="1169277" y="2571092"/>
            <a:ext cx="7007058" cy="3600000"/>
          </a:xfrm>
          <a:prstGeom prst="rect">
            <a:avLst/>
          </a:prstGeom>
        </p:spPr>
        <p:txBody>
          <a:bodyPr lIns="0" tIns="0" rIns="0" bIns="0" numCol="1" anchor="t"/>
          <a:lstStyle>
            <a:lvl1pPr marL="285750" indent="-285750" algn="l" defTabSz="914400" rtl="0" eaLnBrk="1" latinLnBrk="0" hangingPunct="1">
              <a:lnSpc>
                <a:spcPct val="90000"/>
              </a:lnSpc>
              <a:spcBef>
                <a:spcPts val="1000"/>
              </a:spcBef>
              <a:buSzPct val="90000"/>
              <a:buFont typeface="Arial" charset="0"/>
              <a:buChar char="•"/>
              <a:defRPr sz="2000" b="0" i="0" kern="1200">
                <a:solidFill>
                  <a:schemeClr val="tx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indent="0">
              <a:spcBef>
                <a:spcPct val="0"/>
              </a:spcBef>
              <a:buFont typeface="Arial" charset="0"/>
              <a:buNone/>
            </a:pPr>
            <a:r>
              <a:rPr lang="en-GB" altLang="en-US"/>
              <a:t>Foams are composed of small bubbles of gas usually air dispersed in a liquid, e.g. egg white foam. As liquid egg white is whisked, air bubbles are incorporated. </a:t>
            </a:r>
          </a:p>
          <a:p>
            <a:pPr marL="0" indent="0">
              <a:spcBef>
                <a:spcPct val="0"/>
              </a:spcBef>
              <a:buFont typeface="Arial" charset="0"/>
              <a:buNone/>
            </a:pPr>
            <a:r>
              <a:rPr lang="en-GB" altLang="en-US"/>
              <a:t> </a:t>
            </a:r>
          </a:p>
          <a:p>
            <a:pPr marL="0" indent="0">
              <a:spcBef>
                <a:spcPct val="0"/>
              </a:spcBef>
              <a:buFont typeface="Arial" charset="0"/>
              <a:buNone/>
            </a:pPr>
            <a:r>
              <a:rPr lang="en-GB" altLang="en-US"/>
              <a:t>The mechanical action causes proteins in the egg white to unfold and form a network, trapping the air.</a:t>
            </a:r>
          </a:p>
          <a:p>
            <a:pPr marL="0" indent="0">
              <a:spcBef>
                <a:spcPct val="0"/>
              </a:spcBef>
              <a:buFont typeface="Arial" charset="0"/>
              <a:buNone/>
            </a:pPr>
            <a:endParaRPr lang="en-GB" altLang="en-US"/>
          </a:p>
          <a:p>
            <a:pPr marL="0" indent="0">
              <a:spcBef>
                <a:spcPct val="0"/>
              </a:spcBef>
              <a:buFont typeface="Arial" charset="0"/>
              <a:buNone/>
            </a:pPr>
            <a:r>
              <a:rPr lang="en-GB" altLang="en-US"/>
              <a:t>If an egg white foam is heated, proteins coagulate, and moisture is driven off. This forms a solid foam, e.g. meringue.  </a:t>
            </a:r>
          </a:p>
          <a:p>
            <a:pPr marL="0" indent="0">
              <a:spcBef>
                <a:spcPct val="0"/>
              </a:spcBef>
              <a:buFont typeface="Arial" charset="0"/>
              <a:buNone/>
            </a:pPr>
            <a:endParaRPr lang="en-GB" altLang="en-US"/>
          </a:p>
          <a:p>
            <a:pPr marL="0" indent="0">
              <a:spcBef>
                <a:spcPct val="0"/>
              </a:spcBef>
              <a:buFont typeface="Arial" charset="0"/>
              <a:buNone/>
            </a:pPr>
            <a:r>
              <a:rPr lang="en-GB" altLang="en-US"/>
              <a:t>Ice cream, bread and cakes are other examples of solid foams.</a:t>
            </a:r>
          </a:p>
          <a:p>
            <a:pPr marL="0" indent="0">
              <a:buFont typeface="Arial" charset="0"/>
              <a:buNone/>
            </a:pPr>
            <a:endParaRPr lang="en-US"/>
          </a:p>
        </p:txBody>
      </p:sp>
      <p:pic>
        <p:nvPicPr>
          <p:cNvPr id="9" name="Picture 5" descr="egg foam merg">
            <a:extLst>
              <a:ext uri="{FF2B5EF4-FFF2-40B4-BE49-F238E27FC236}">
                <a16:creationId xmlns:a16="http://schemas.microsoft.com/office/drawing/2014/main" id="{9FCA79BB-41CB-F379-2C9B-203385F43E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10447" y="1871901"/>
            <a:ext cx="2212957" cy="1814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descr="MPj04229530000[1]">
            <a:extLst>
              <a:ext uri="{FF2B5EF4-FFF2-40B4-BE49-F238E27FC236}">
                <a16:creationId xmlns:a16="http://schemas.microsoft.com/office/drawing/2014/main" id="{181C385D-256A-D7A4-3790-E4BDCE519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561" y="3537467"/>
            <a:ext cx="2303462" cy="158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MPj04067730000[1]">
            <a:extLst>
              <a:ext uri="{FF2B5EF4-FFF2-40B4-BE49-F238E27FC236}">
                <a16:creationId xmlns:a16="http://schemas.microsoft.com/office/drawing/2014/main" id="{869CB4D8-FD4F-71C1-C298-F666862A76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45492" y="4698852"/>
            <a:ext cx="2087563" cy="167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5441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26A86-9550-6E5B-B169-E1E0A005FA8A}"/>
              </a:ext>
            </a:extLst>
          </p:cNvPr>
          <p:cNvSpPr>
            <a:spLocks noGrp="1"/>
          </p:cNvSpPr>
          <p:nvPr>
            <p:ph type="ctrTitle"/>
          </p:nvPr>
        </p:nvSpPr>
        <p:spPr/>
        <p:txBody>
          <a:bodyPr/>
          <a:lstStyle/>
          <a:p>
            <a:r>
              <a:rPr lang="en-GB"/>
              <a:t>The science of foams</a:t>
            </a:r>
          </a:p>
        </p:txBody>
      </p:sp>
      <p:sp>
        <p:nvSpPr>
          <p:cNvPr id="3" name="Subtitle 2">
            <a:extLst>
              <a:ext uri="{FF2B5EF4-FFF2-40B4-BE49-F238E27FC236}">
                <a16:creationId xmlns:a16="http://schemas.microsoft.com/office/drawing/2014/main" id="{BF873EDB-931B-29CD-393B-288BD2C07FB8}"/>
              </a:ext>
            </a:extLst>
          </p:cNvPr>
          <p:cNvSpPr>
            <a:spLocks noGrp="1"/>
          </p:cNvSpPr>
          <p:nvPr>
            <p:ph type="subTitle" idx="1"/>
          </p:nvPr>
        </p:nvSpPr>
        <p:spPr>
          <a:xfrm>
            <a:off x="1169276" y="2571092"/>
            <a:ext cx="6073957" cy="3600000"/>
          </a:xfrm>
        </p:spPr>
        <p:txBody>
          <a:bodyPr/>
          <a:lstStyle/>
          <a:p>
            <a:pPr marL="0" indent="0">
              <a:buNone/>
            </a:pPr>
            <a:r>
              <a:rPr lang="en-GB" b="0" i="0" dirty="0">
                <a:solidFill>
                  <a:srgbClr val="333333"/>
                </a:solidFill>
                <a:effectLst/>
                <a:latin typeface="Helvetica Neue"/>
              </a:rPr>
              <a:t>Egg whites are made up of water, protein, and small amounts of minerals and vitamins. </a:t>
            </a:r>
          </a:p>
          <a:p>
            <a:pPr marL="0" indent="0">
              <a:buNone/>
            </a:pPr>
            <a:r>
              <a:rPr lang="en-GB" b="0" i="0" dirty="0">
                <a:solidFill>
                  <a:srgbClr val="333333"/>
                </a:solidFill>
                <a:effectLst/>
                <a:latin typeface="Helvetica Neue"/>
              </a:rPr>
              <a:t>When eggs are beaten, air is introduced, and the proteins are denatured exposing their hydrophobic (water hating) and hydrophilic (water loving) ends of the protein. </a:t>
            </a:r>
          </a:p>
          <a:p>
            <a:pPr marL="0" indent="0">
              <a:buNone/>
            </a:pPr>
            <a:r>
              <a:rPr lang="en-GB" b="0" i="0" dirty="0">
                <a:solidFill>
                  <a:srgbClr val="333333"/>
                </a:solidFill>
                <a:effectLst/>
                <a:latin typeface="Helvetica Neue"/>
              </a:rPr>
              <a:t>The proteins </a:t>
            </a:r>
            <a:r>
              <a:rPr lang="en-GB" dirty="0">
                <a:solidFill>
                  <a:srgbClr val="333333"/>
                </a:solidFill>
                <a:latin typeface="Helvetica Neue"/>
              </a:rPr>
              <a:t>place</a:t>
            </a:r>
            <a:r>
              <a:rPr lang="en-GB" b="0" i="0" dirty="0">
                <a:solidFill>
                  <a:srgbClr val="333333"/>
                </a:solidFill>
                <a:effectLst/>
                <a:latin typeface="Helvetica Neue"/>
              </a:rPr>
              <a:t> themselves between air and water forming bubbles with their hydrophilic chains pointing into the water and their hydrophobic chains in the air. </a:t>
            </a:r>
          </a:p>
          <a:p>
            <a:pPr marL="0" indent="0">
              <a:buNone/>
            </a:pPr>
            <a:r>
              <a:rPr lang="en-GB" dirty="0">
                <a:solidFill>
                  <a:srgbClr val="333333"/>
                </a:solidFill>
                <a:latin typeface="Helvetica Neue"/>
              </a:rPr>
              <a:t>T</a:t>
            </a:r>
            <a:r>
              <a:rPr lang="en-GB" b="0" i="0" dirty="0">
                <a:solidFill>
                  <a:srgbClr val="333333"/>
                </a:solidFill>
                <a:effectLst/>
                <a:latin typeface="Helvetica Neue"/>
              </a:rPr>
              <a:t>he proteins can also bond to one another side to side as crosslinks, which add to the stability of a foam. </a:t>
            </a:r>
            <a:endParaRPr lang="en-GB" dirty="0"/>
          </a:p>
        </p:txBody>
      </p:sp>
      <p:grpSp>
        <p:nvGrpSpPr>
          <p:cNvPr id="71" name="Group 70">
            <a:extLst>
              <a:ext uri="{FF2B5EF4-FFF2-40B4-BE49-F238E27FC236}">
                <a16:creationId xmlns:a16="http://schemas.microsoft.com/office/drawing/2014/main" id="{65430E7D-294F-D147-886E-48C50BD08C3F}"/>
              </a:ext>
            </a:extLst>
          </p:cNvPr>
          <p:cNvGrpSpPr/>
          <p:nvPr/>
        </p:nvGrpSpPr>
        <p:grpSpPr>
          <a:xfrm>
            <a:off x="7486651" y="1819695"/>
            <a:ext cx="2463800" cy="4444531"/>
            <a:chOff x="9044518" y="1684228"/>
            <a:chExt cx="2463800" cy="4444531"/>
          </a:xfrm>
        </p:grpSpPr>
        <p:sp>
          <p:nvSpPr>
            <p:cNvPr id="5" name="Rectangle 4">
              <a:extLst>
                <a:ext uri="{FF2B5EF4-FFF2-40B4-BE49-F238E27FC236}">
                  <a16:creationId xmlns:a16="http://schemas.microsoft.com/office/drawing/2014/main" id="{BC62C909-8806-3B10-20EB-4294C88BE434}"/>
                </a:ext>
              </a:extLst>
            </p:cNvPr>
            <p:cNvSpPr/>
            <p:nvPr/>
          </p:nvSpPr>
          <p:spPr>
            <a:xfrm>
              <a:off x="9044518" y="1684228"/>
              <a:ext cx="2463800" cy="135043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8FE48B6-B388-EAE2-9329-ED6EC85DD4BF}"/>
                </a:ext>
              </a:extLst>
            </p:cNvPr>
            <p:cNvSpPr/>
            <p:nvPr/>
          </p:nvSpPr>
          <p:spPr>
            <a:xfrm>
              <a:off x="9044518" y="3243859"/>
              <a:ext cx="2463800" cy="135043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71423A7E-8270-20A8-BC98-B3604E5BB3E2}"/>
                </a:ext>
              </a:extLst>
            </p:cNvPr>
            <p:cNvSpPr/>
            <p:nvPr/>
          </p:nvSpPr>
          <p:spPr>
            <a:xfrm>
              <a:off x="9044518" y="4778326"/>
              <a:ext cx="2463800" cy="135043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reeform: Shape 8">
              <a:extLst>
                <a:ext uri="{FF2B5EF4-FFF2-40B4-BE49-F238E27FC236}">
                  <a16:creationId xmlns:a16="http://schemas.microsoft.com/office/drawing/2014/main" id="{732C3394-603E-17A7-1042-CEB3B3B1FAFA}"/>
                </a:ext>
              </a:extLst>
            </p:cNvPr>
            <p:cNvSpPr/>
            <p:nvPr/>
          </p:nvSpPr>
          <p:spPr>
            <a:xfrm>
              <a:off x="9253914" y="1819330"/>
              <a:ext cx="422269" cy="280273"/>
            </a:xfrm>
            <a:custGeom>
              <a:avLst/>
              <a:gdLst>
                <a:gd name="connsiteX0" fmla="*/ 4386 w 482752"/>
                <a:gd name="connsiteY0" fmla="*/ 0 h 334434"/>
                <a:gd name="connsiteX1" fmla="*/ 63652 w 482752"/>
                <a:gd name="connsiteY1" fmla="*/ 156634 h 334434"/>
                <a:gd name="connsiteX2" fmla="*/ 355752 w 482752"/>
                <a:gd name="connsiteY2" fmla="*/ 279400 h 334434"/>
                <a:gd name="connsiteX3" fmla="*/ 440419 w 482752"/>
                <a:gd name="connsiteY3" fmla="*/ 262467 h 334434"/>
                <a:gd name="connsiteX4" fmla="*/ 457352 w 482752"/>
                <a:gd name="connsiteY4" fmla="*/ 211667 h 334434"/>
                <a:gd name="connsiteX5" fmla="*/ 482752 w 482752"/>
                <a:gd name="connsiteY5" fmla="*/ 118534 h 334434"/>
                <a:gd name="connsiteX6" fmla="*/ 440419 w 482752"/>
                <a:gd name="connsiteY6" fmla="*/ 76200 h 334434"/>
                <a:gd name="connsiteX7" fmla="*/ 389619 w 482752"/>
                <a:gd name="connsiteY7" fmla="*/ 67734 h 334434"/>
                <a:gd name="connsiteX8" fmla="*/ 228752 w 482752"/>
                <a:gd name="connsiteY8" fmla="*/ 71967 h 334434"/>
                <a:gd name="connsiteX9" fmla="*/ 42486 w 482752"/>
                <a:gd name="connsiteY9" fmla="*/ 97367 h 334434"/>
                <a:gd name="connsiteX10" fmla="*/ 84819 w 482752"/>
                <a:gd name="connsiteY10" fmla="*/ 160867 h 334434"/>
                <a:gd name="connsiteX11" fmla="*/ 165252 w 482752"/>
                <a:gd name="connsiteY11" fmla="*/ 186267 h 334434"/>
                <a:gd name="connsiteX12" fmla="*/ 237219 w 482752"/>
                <a:gd name="connsiteY12" fmla="*/ 169334 h 334434"/>
                <a:gd name="connsiteX13" fmla="*/ 161019 w 482752"/>
                <a:gd name="connsiteY13" fmla="*/ 93134 h 334434"/>
                <a:gd name="connsiteX14" fmla="*/ 135619 w 482752"/>
                <a:gd name="connsiteY14" fmla="*/ 114300 h 334434"/>
                <a:gd name="connsiteX15" fmla="*/ 249919 w 482752"/>
                <a:gd name="connsiteY15" fmla="*/ 194734 h 334434"/>
                <a:gd name="connsiteX16" fmla="*/ 304952 w 482752"/>
                <a:gd name="connsiteY16" fmla="*/ 160867 h 334434"/>
                <a:gd name="connsiteX17" fmla="*/ 254152 w 482752"/>
                <a:gd name="connsiteY17" fmla="*/ 101600 h 334434"/>
                <a:gd name="connsiteX18" fmla="*/ 207586 w 482752"/>
                <a:gd name="connsiteY18" fmla="*/ 118534 h 334434"/>
                <a:gd name="connsiteX19" fmla="*/ 309186 w 482752"/>
                <a:gd name="connsiteY19" fmla="*/ 300567 h 334434"/>
                <a:gd name="connsiteX20" fmla="*/ 279552 w 482752"/>
                <a:gd name="connsiteY20" fmla="*/ 50800 h 334434"/>
                <a:gd name="connsiteX21" fmla="*/ 266852 w 482752"/>
                <a:gd name="connsiteY21" fmla="*/ 46567 h 334434"/>
                <a:gd name="connsiteX22" fmla="*/ 304952 w 482752"/>
                <a:gd name="connsiteY22" fmla="*/ 211667 h 334434"/>
                <a:gd name="connsiteX23" fmla="*/ 368452 w 482752"/>
                <a:gd name="connsiteY23" fmla="*/ 186267 h 334434"/>
                <a:gd name="connsiteX24" fmla="*/ 258386 w 482752"/>
                <a:gd name="connsiteY24" fmla="*/ 118534 h 334434"/>
                <a:gd name="connsiteX25" fmla="*/ 228752 w 482752"/>
                <a:gd name="connsiteY25" fmla="*/ 131234 h 334434"/>
                <a:gd name="connsiteX26" fmla="*/ 330352 w 482752"/>
                <a:gd name="connsiteY26" fmla="*/ 215900 h 334434"/>
                <a:gd name="connsiteX27" fmla="*/ 355752 w 482752"/>
                <a:gd name="connsiteY27" fmla="*/ 165100 h 334434"/>
                <a:gd name="connsiteX28" fmla="*/ 317652 w 482752"/>
                <a:gd name="connsiteY28" fmla="*/ 118534 h 334434"/>
                <a:gd name="connsiteX29" fmla="*/ 139852 w 482752"/>
                <a:gd name="connsiteY29" fmla="*/ 160867 h 334434"/>
                <a:gd name="connsiteX30" fmla="*/ 152552 w 482752"/>
                <a:gd name="connsiteY30" fmla="*/ 215900 h 334434"/>
                <a:gd name="connsiteX31" fmla="*/ 347286 w 482752"/>
                <a:gd name="connsiteY31" fmla="*/ 203200 h 334434"/>
                <a:gd name="connsiteX32" fmla="*/ 241452 w 482752"/>
                <a:gd name="connsiteY32" fmla="*/ 80434 h 334434"/>
                <a:gd name="connsiteX33" fmla="*/ 194886 w 482752"/>
                <a:gd name="connsiteY33" fmla="*/ 84667 h 334434"/>
                <a:gd name="connsiteX34" fmla="*/ 224519 w 482752"/>
                <a:gd name="connsiteY34" fmla="*/ 224367 h 334434"/>
                <a:gd name="connsiteX35" fmla="*/ 292252 w 482752"/>
                <a:gd name="connsiteY35" fmla="*/ 249767 h 334434"/>
                <a:gd name="connsiteX36" fmla="*/ 347286 w 482752"/>
                <a:gd name="connsiteY36" fmla="*/ 241300 h 334434"/>
                <a:gd name="connsiteX37" fmla="*/ 304952 w 482752"/>
                <a:gd name="connsiteY37" fmla="*/ 105834 h 334434"/>
                <a:gd name="connsiteX38" fmla="*/ 262619 w 482752"/>
                <a:gd name="connsiteY38" fmla="*/ 97367 h 334434"/>
                <a:gd name="connsiteX39" fmla="*/ 199119 w 482752"/>
                <a:gd name="connsiteY39" fmla="*/ 194734 h 334434"/>
                <a:gd name="connsiteX40" fmla="*/ 271086 w 482752"/>
                <a:gd name="connsiteY40" fmla="*/ 228600 h 334434"/>
                <a:gd name="connsiteX41" fmla="*/ 398086 w 482752"/>
                <a:gd name="connsiteY41" fmla="*/ 198967 h 334434"/>
                <a:gd name="connsiteX42" fmla="*/ 457352 w 482752"/>
                <a:gd name="connsiteY42" fmla="*/ 143934 h 334434"/>
                <a:gd name="connsiteX43" fmla="*/ 402319 w 482752"/>
                <a:gd name="connsiteY43" fmla="*/ 38100 h 334434"/>
                <a:gd name="connsiteX44" fmla="*/ 304952 w 482752"/>
                <a:gd name="connsiteY44" fmla="*/ 33867 h 334434"/>
                <a:gd name="connsiteX45" fmla="*/ 228752 w 482752"/>
                <a:gd name="connsiteY45" fmla="*/ 55034 h 334434"/>
                <a:gd name="connsiteX46" fmla="*/ 283786 w 482752"/>
                <a:gd name="connsiteY46" fmla="*/ 173567 h 334434"/>
                <a:gd name="connsiteX47" fmla="*/ 406552 w 482752"/>
                <a:gd name="connsiteY47" fmla="*/ 135467 h 334434"/>
                <a:gd name="connsiteX48" fmla="*/ 347286 w 482752"/>
                <a:gd name="connsiteY48" fmla="*/ 84667 h 334434"/>
                <a:gd name="connsiteX49" fmla="*/ 241452 w 482752"/>
                <a:gd name="connsiteY49" fmla="*/ 55034 h 334434"/>
                <a:gd name="connsiteX50" fmla="*/ 165252 w 482752"/>
                <a:gd name="connsiteY50" fmla="*/ 63500 h 334434"/>
                <a:gd name="connsiteX51" fmla="*/ 93286 w 482752"/>
                <a:gd name="connsiteY51" fmla="*/ 300567 h 334434"/>
                <a:gd name="connsiteX52" fmla="*/ 169486 w 482752"/>
                <a:gd name="connsiteY52" fmla="*/ 334434 h 334434"/>
                <a:gd name="connsiteX53" fmla="*/ 300719 w 482752"/>
                <a:gd name="connsiteY53" fmla="*/ 317500 h 334434"/>
                <a:gd name="connsiteX54" fmla="*/ 372686 w 482752"/>
                <a:gd name="connsiteY54" fmla="*/ 249767 h 334434"/>
                <a:gd name="connsiteX55" fmla="*/ 347286 w 482752"/>
                <a:gd name="connsiteY55" fmla="*/ 177800 h 334434"/>
                <a:gd name="connsiteX56" fmla="*/ 249919 w 482752"/>
                <a:gd name="connsiteY56" fmla="*/ 101600 h 3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2752" h="334434">
                  <a:moveTo>
                    <a:pt x="4386" y="0"/>
                  </a:moveTo>
                  <a:cubicBezTo>
                    <a:pt x="117850" y="99285"/>
                    <a:pt x="-100272" y="-103714"/>
                    <a:pt x="63652" y="156634"/>
                  </a:cubicBezTo>
                  <a:cubicBezTo>
                    <a:pt x="145273" y="286267"/>
                    <a:pt x="221435" y="263020"/>
                    <a:pt x="355752" y="279400"/>
                  </a:cubicBezTo>
                  <a:cubicBezTo>
                    <a:pt x="383974" y="273756"/>
                    <a:pt x="416472" y="278432"/>
                    <a:pt x="440419" y="262467"/>
                  </a:cubicBezTo>
                  <a:cubicBezTo>
                    <a:pt x="455271" y="252566"/>
                    <a:pt x="452316" y="228791"/>
                    <a:pt x="457352" y="211667"/>
                  </a:cubicBezTo>
                  <a:cubicBezTo>
                    <a:pt x="466432" y="180796"/>
                    <a:pt x="474285" y="149578"/>
                    <a:pt x="482752" y="118534"/>
                  </a:cubicBezTo>
                  <a:cubicBezTo>
                    <a:pt x="468641" y="104423"/>
                    <a:pt x="457938" y="85756"/>
                    <a:pt x="440419" y="76200"/>
                  </a:cubicBezTo>
                  <a:cubicBezTo>
                    <a:pt x="425348" y="67980"/>
                    <a:pt x="406782" y="68077"/>
                    <a:pt x="389619" y="67734"/>
                  </a:cubicBezTo>
                  <a:lnTo>
                    <a:pt x="228752" y="71967"/>
                  </a:lnTo>
                  <a:cubicBezTo>
                    <a:pt x="166663" y="80434"/>
                    <a:pt x="95800" y="64438"/>
                    <a:pt x="42486" y="97367"/>
                  </a:cubicBezTo>
                  <a:cubicBezTo>
                    <a:pt x="20842" y="110735"/>
                    <a:pt x="64215" y="145947"/>
                    <a:pt x="84819" y="160867"/>
                  </a:cubicBezTo>
                  <a:cubicBezTo>
                    <a:pt x="107591" y="177357"/>
                    <a:pt x="138441" y="177800"/>
                    <a:pt x="165252" y="186267"/>
                  </a:cubicBezTo>
                  <a:cubicBezTo>
                    <a:pt x="189241" y="180623"/>
                    <a:pt x="221678" y="188460"/>
                    <a:pt x="237219" y="169334"/>
                  </a:cubicBezTo>
                  <a:cubicBezTo>
                    <a:pt x="273994" y="124074"/>
                    <a:pt x="163835" y="94341"/>
                    <a:pt x="161019" y="93134"/>
                  </a:cubicBezTo>
                  <a:cubicBezTo>
                    <a:pt x="152552" y="100189"/>
                    <a:pt x="133557" y="103474"/>
                    <a:pt x="135619" y="114300"/>
                  </a:cubicBezTo>
                  <a:cubicBezTo>
                    <a:pt x="151119" y="195678"/>
                    <a:pt x="188094" y="183824"/>
                    <a:pt x="249919" y="194734"/>
                  </a:cubicBezTo>
                  <a:cubicBezTo>
                    <a:pt x="268263" y="183445"/>
                    <a:pt x="294572" y="179740"/>
                    <a:pt x="304952" y="160867"/>
                  </a:cubicBezTo>
                  <a:cubicBezTo>
                    <a:pt x="336083" y="104265"/>
                    <a:pt x="278142" y="106398"/>
                    <a:pt x="254152" y="101600"/>
                  </a:cubicBezTo>
                  <a:cubicBezTo>
                    <a:pt x="238630" y="107245"/>
                    <a:pt x="209410" y="102119"/>
                    <a:pt x="207586" y="118534"/>
                  </a:cubicBezTo>
                  <a:cubicBezTo>
                    <a:pt x="193048" y="249381"/>
                    <a:pt x="229491" y="248999"/>
                    <a:pt x="309186" y="300567"/>
                  </a:cubicBezTo>
                  <a:cubicBezTo>
                    <a:pt x="337303" y="159976"/>
                    <a:pt x="346606" y="207259"/>
                    <a:pt x="279552" y="50800"/>
                  </a:cubicBezTo>
                  <a:cubicBezTo>
                    <a:pt x="277794" y="46699"/>
                    <a:pt x="271085" y="47978"/>
                    <a:pt x="266852" y="46567"/>
                  </a:cubicBezTo>
                  <a:cubicBezTo>
                    <a:pt x="260395" y="101457"/>
                    <a:pt x="238870" y="171001"/>
                    <a:pt x="304952" y="211667"/>
                  </a:cubicBezTo>
                  <a:cubicBezTo>
                    <a:pt x="324367" y="223615"/>
                    <a:pt x="347285" y="194734"/>
                    <a:pt x="368452" y="186267"/>
                  </a:cubicBezTo>
                  <a:cubicBezTo>
                    <a:pt x="319913" y="125594"/>
                    <a:pt x="333997" y="111333"/>
                    <a:pt x="258386" y="118534"/>
                  </a:cubicBezTo>
                  <a:cubicBezTo>
                    <a:pt x="247688" y="119553"/>
                    <a:pt x="238630" y="127001"/>
                    <a:pt x="228752" y="131234"/>
                  </a:cubicBezTo>
                  <a:cubicBezTo>
                    <a:pt x="240421" y="149571"/>
                    <a:pt x="273572" y="265583"/>
                    <a:pt x="330352" y="215900"/>
                  </a:cubicBezTo>
                  <a:cubicBezTo>
                    <a:pt x="344600" y="203433"/>
                    <a:pt x="347285" y="182033"/>
                    <a:pt x="355752" y="165100"/>
                  </a:cubicBezTo>
                  <a:cubicBezTo>
                    <a:pt x="343052" y="149578"/>
                    <a:pt x="336086" y="126434"/>
                    <a:pt x="317652" y="118534"/>
                  </a:cubicBezTo>
                  <a:cubicBezTo>
                    <a:pt x="249530" y="89339"/>
                    <a:pt x="196801" y="133630"/>
                    <a:pt x="139852" y="160867"/>
                  </a:cubicBezTo>
                  <a:cubicBezTo>
                    <a:pt x="144085" y="179211"/>
                    <a:pt x="138697" y="203153"/>
                    <a:pt x="152552" y="215900"/>
                  </a:cubicBezTo>
                  <a:cubicBezTo>
                    <a:pt x="239927" y="296285"/>
                    <a:pt x="261808" y="249501"/>
                    <a:pt x="347286" y="203200"/>
                  </a:cubicBezTo>
                  <a:cubicBezTo>
                    <a:pt x="311796" y="125123"/>
                    <a:pt x="324545" y="99610"/>
                    <a:pt x="241452" y="80434"/>
                  </a:cubicBezTo>
                  <a:cubicBezTo>
                    <a:pt x="226265" y="76929"/>
                    <a:pt x="210408" y="83256"/>
                    <a:pt x="194886" y="84667"/>
                  </a:cubicBezTo>
                  <a:cubicBezTo>
                    <a:pt x="169043" y="142811"/>
                    <a:pt x="155482" y="147659"/>
                    <a:pt x="224519" y="224367"/>
                  </a:cubicBezTo>
                  <a:cubicBezTo>
                    <a:pt x="240650" y="242290"/>
                    <a:pt x="269674" y="241300"/>
                    <a:pt x="292252" y="249767"/>
                  </a:cubicBezTo>
                  <a:cubicBezTo>
                    <a:pt x="310597" y="246945"/>
                    <a:pt x="334565" y="254816"/>
                    <a:pt x="347286" y="241300"/>
                  </a:cubicBezTo>
                  <a:cubicBezTo>
                    <a:pt x="392314" y="193458"/>
                    <a:pt x="336157" y="131612"/>
                    <a:pt x="304952" y="105834"/>
                  </a:cubicBezTo>
                  <a:cubicBezTo>
                    <a:pt x="293857" y="96669"/>
                    <a:pt x="276730" y="100189"/>
                    <a:pt x="262619" y="97367"/>
                  </a:cubicBezTo>
                  <a:cubicBezTo>
                    <a:pt x="229566" y="113894"/>
                    <a:pt x="169604" y="130786"/>
                    <a:pt x="199119" y="194734"/>
                  </a:cubicBezTo>
                  <a:cubicBezTo>
                    <a:pt x="210229" y="218806"/>
                    <a:pt x="247097" y="217311"/>
                    <a:pt x="271086" y="228600"/>
                  </a:cubicBezTo>
                  <a:cubicBezTo>
                    <a:pt x="313419" y="218722"/>
                    <a:pt x="358512" y="216955"/>
                    <a:pt x="398086" y="198967"/>
                  </a:cubicBezTo>
                  <a:cubicBezTo>
                    <a:pt x="422629" y="187811"/>
                    <a:pt x="446633" y="168670"/>
                    <a:pt x="457352" y="143934"/>
                  </a:cubicBezTo>
                  <a:cubicBezTo>
                    <a:pt x="479441" y="92960"/>
                    <a:pt x="449810" y="50312"/>
                    <a:pt x="402319" y="38100"/>
                  </a:cubicBezTo>
                  <a:cubicBezTo>
                    <a:pt x="370856" y="30010"/>
                    <a:pt x="337408" y="35278"/>
                    <a:pt x="304952" y="33867"/>
                  </a:cubicBezTo>
                  <a:cubicBezTo>
                    <a:pt x="279552" y="40923"/>
                    <a:pt x="249721" y="39058"/>
                    <a:pt x="228752" y="55034"/>
                  </a:cubicBezTo>
                  <a:cubicBezTo>
                    <a:pt x="173363" y="97235"/>
                    <a:pt x="274685" y="163897"/>
                    <a:pt x="283786" y="173567"/>
                  </a:cubicBezTo>
                  <a:cubicBezTo>
                    <a:pt x="324708" y="160867"/>
                    <a:pt x="381647" y="170333"/>
                    <a:pt x="406552" y="135467"/>
                  </a:cubicBezTo>
                  <a:cubicBezTo>
                    <a:pt x="421675" y="114294"/>
                    <a:pt x="370677" y="96063"/>
                    <a:pt x="347286" y="84667"/>
                  </a:cubicBezTo>
                  <a:cubicBezTo>
                    <a:pt x="314352" y="68622"/>
                    <a:pt x="276730" y="64912"/>
                    <a:pt x="241452" y="55034"/>
                  </a:cubicBezTo>
                  <a:lnTo>
                    <a:pt x="165252" y="63500"/>
                  </a:lnTo>
                  <a:cubicBezTo>
                    <a:pt x="92759" y="116400"/>
                    <a:pt x="47871" y="212009"/>
                    <a:pt x="93286" y="300567"/>
                  </a:cubicBezTo>
                  <a:cubicBezTo>
                    <a:pt x="105970" y="325300"/>
                    <a:pt x="144086" y="323145"/>
                    <a:pt x="169486" y="334434"/>
                  </a:cubicBezTo>
                  <a:cubicBezTo>
                    <a:pt x="213230" y="328789"/>
                    <a:pt x="260005" y="334464"/>
                    <a:pt x="300719" y="317500"/>
                  </a:cubicBezTo>
                  <a:cubicBezTo>
                    <a:pt x="331128" y="304830"/>
                    <a:pt x="362269" y="281019"/>
                    <a:pt x="372686" y="249767"/>
                  </a:cubicBezTo>
                  <a:cubicBezTo>
                    <a:pt x="380731" y="225633"/>
                    <a:pt x="361243" y="199068"/>
                    <a:pt x="347286" y="177800"/>
                  </a:cubicBezTo>
                  <a:cubicBezTo>
                    <a:pt x="308101" y="118090"/>
                    <a:pt x="298587" y="119850"/>
                    <a:pt x="249919" y="1016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reeform: Shape 9">
              <a:extLst>
                <a:ext uri="{FF2B5EF4-FFF2-40B4-BE49-F238E27FC236}">
                  <a16:creationId xmlns:a16="http://schemas.microsoft.com/office/drawing/2014/main" id="{9B79EAB8-7FDC-E091-6935-A5B46659885B}"/>
                </a:ext>
              </a:extLst>
            </p:cNvPr>
            <p:cNvSpPr/>
            <p:nvPr/>
          </p:nvSpPr>
          <p:spPr>
            <a:xfrm>
              <a:off x="9984822" y="2182284"/>
              <a:ext cx="422269" cy="280273"/>
            </a:xfrm>
            <a:custGeom>
              <a:avLst/>
              <a:gdLst>
                <a:gd name="connsiteX0" fmla="*/ 4386 w 482752"/>
                <a:gd name="connsiteY0" fmla="*/ 0 h 334434"/>
                <a:gd name="connsiteX1" fmla="*/ 63652 w 482752"/>
                <a:gd name="connsiteY1" fmla="*/ 156634 h 334434"/>
                <a:gd name="connsiteX2" fmla="*/ 355752 w 482752"/>
                <a:gd name="connsiteY2" fmla="*/ 279400 h 334434"/>
                <a:gd name="connsiteX3" fmla="*/ 440419 w 482752"/>
                <a:gd name="connsiteY3" fmla="*/ 262467 h 334434"/>
                <a:gd name="connsiteX4" fmla="*/ 457352 w 482752"/>
                <a:gd name="connsiteY4" fmla="*/ 211667 h 334434"/>
                <a:gd name="connsiteX5" fmla="*/ 482752 w 482752"/>
                <a:gd name="connsiteY5" fmla="*/ 118534 h 334434"/>
                <a:gd name="connsiteX6" fmla="*/ 440419 w 482752"/>
                <a:gd name="connsiteY6" fmla="*/ 76200 h 334434"/>
                <a:gd name="connsiteX7" fmla="*/ 389619 w 482752"/>
                <a:gd name="connsiteY7" fmla="*/ 67734 h 334434"/>
                <a:gd name="connsiteX8" fmla="*/ 228752 w 482752"/>
                <a:gd name="connsiteY8" fmla="*/ 71967 h 334434"/>
                <a:gd name="connsiteX9" fmla="*/ 42486 w 482752"/>
                <a:gd name="connsiteY9" fmla="*/ 97367 h 334434"/>
                <a:gd name="connsiteX10" fmla="*/ 84819 w 482752"/>
                <a:gd name="connsiteY10" fmla="*/ 160867 h 334434"/>
                <a:gd name="connsiteX11" fmla="*/ 165252 w 482752"/>
                <a:gd name="connsiteY11" fmla="*/ 186267 h 334434"/>
                <a:gd name="connsiteX12" fmla="*/ 237219 w 482752"/>
                <a:gd name="connsiteY12" fmla="*/ 169334 h 334434"/>
                <a:gd name="connsiteX13" fmla="*/ 161019 w 482752"/>
                <a:gd name="connsiteY13" fmla="*/ 93134 h 334434"/>
                <a:gd name="connsiteX14" fmla="*/ 135619 w 482752"/>
                <a:gd name="connsiteY14" fmla="*/ 114300 h 334434"/>
                <a:gd name="connsiteX15" fmla="*/ 249919 w 482752"/>
                <a:gd name="connsiteY15" fmla="*/ 194734 h 334434"/>
                <a:gd name="connsiteX16" fmla="*/ 304952 w 482752"/>
                <a:gd name="connsiteY16" fmla="*/ 160867 h 334434"/>
                <a:gd name="connsiteX17" fmla="*/ 254152 w 482752"/>
                <a:gd name="connsiteY17" fmla="*/ 101600 h 334434"/>
                <a:gd name="connsiteX18" fmla="*/ 207586 w 482752"/>
                <a:gd name="connsiteY18" fmla="*/ 118534 h 334434"/>
                <a:gd name="connsiteX19" fmla="*/ 309186 w 482752"/>
                <a:gd name="connsiteY19" fmla="*/ 300567 h 334434"/>
                <a:gd name="connsiteX20" fmla="*/ 279552 w 482752"/>
                <a:gd name="connsiteY20" fmla="*/ 50800 h 334434"/>
                <a:gd name="connsiteX21" fmla="*/ 266852 w 482752"/>
                <a:gd name="connsiteY21" fmla="*/ 46567 h 334434"/>
                <a:gd name="connsiteX22" fmla="*/ 304952 w 482752"/>
                <a:gd name="connsiteY22" fmla="*/ 211667 h 334434"/>
                <a:gd name="connsiteX23" fmla="*/ 368452 w 482752"/>
                <a:gd name="connsiteY23" fmla="*/ 186267 h 334434"/>
                <a:gd name="connsiteX24" fmla="*/ 258386 w 482752"/>
                <a:gd name="connsiteY24" fmla="*/ 118534 h 334434"/>
                <a:gd name="connsiteX25" fmla="*/ 228752 w 482752"/>
                <a:gd name="connsiteY25" fmla="*/ 131234 h 334434"/>
                <a:gd name="connsiteX26" fmla="*/ 330352 w 482752"/>
                <a:gd name="connsiteY26" fmla="*/ 215900 h 334434"/>
                <a:gd name="connsiteX27" fmla="*/ 355752 w 482752"/>
                <a:gd name="connsiteY27" fmla="*/ 165100 h 334434"/>
                <a:gd name="connsiteX28" fmla="*/ 317652 w 482752"/>
                <a:gd name="connsiteY28" fmla="*/ 118534 h 334434"/>
                <a:gd name="connsiteX29" fmla="*/ 139852 w 482752"/>
                <a:gd name="connsiteY29" fmla="*/ 160867 h 334434"/>
                <a:gd name="connsiteX30" fmla="*/ 152552 w 482752"/>
                <a:gd name="connsiteY30" fmla="*/ 215900 h 334434"/>
                <a:gd name="connsiteX31" fmla="*/ 347286 w 482752"/>
                <a:gd name="connsiteY31" fmla="*/ 203200 h 334434"/>
                <a:gd name="connsiteX32" fmla="*/ 241452 w 482752"/>
                <a:gd name="connsiteY32" fmla="*/ 80434 h 334434"/>
                <a:gd name="connsiteX33" fmla="*/ 194886 w 482752"/>
                <a:gd name="connsiteY33" fmla="*/ 84667 h 334434"/>
                <a:gd name="connsiteX34" fmla="*/ 224519 w 482752"/>
                <a:gd name="connsiteY34" fmla="*/ 224367 h 334434"/>
                <a:gd name="connsiteX35" fmla="*/ 292252 w 482752"/>
                <a:gd name="connsiteY35" fmla="*/ 249767 h 334434"/>
                <a:gd name="connsiteX36" fmla="*/ 347286 w 482752"/>
                <a:gd name="connsiteY36" fmla="*/ 241300 h 334434"/>
                <a:gd name="connsiteX37" fmla="*/ 304952 w 482752"/>
                <a:gd name="connsiteY37" fmla="*/ 105834 h 334434"/>
                <a:gd name="connsiteX38" fmla="*/ 262619 w 482752"/>
                <a:gd name="connsiteY38" fmla="*/ 97367 h 334434"/>
                <a:gd name="connsiteX39" fmla="*/ 199119 w 482752"/>
                <a:gd name="connsiteY39" fmla="*/ 194734 h 334434"/>
                <a:gd name="connsiteX40" fmla="*/ 271086 w 482752"/>
                <a:gd name="connsiteY40" fmla="*/ 228600 h 334434"/>
                <a:gd name="connsiteX41" fmla="*/ 398086 w 482752"/>
                <a:gd name="connsiteY41" fmla="*/ 198967 h 334434"/>
                <a:gd name="connsiteX42" fmla="*/ 457352 w 482752"/>
                <a:gd name="connsiteY42" fmla="*/ 143934 h 334434"/>
                <a:gd name="connsiteX43" fmla="*/ 402319 w 482752"/>
                <a:gd name="connsiteY43" fmla="*/ 38100 h 334434"/>
                <a:gd name="connsiteX44" fmla="*/ 304952 w 482752"/>
                <a:gd name="connsiteY44" fmla="*/ 33867 h 334434"/>
                <a:gd name="connsiteX45" fmla="*/ 228752 w 482752"/>
                <a:gd name="connsiteY45" fmla="*/ 55034 h 334434"/>
                <a:gd name="connsiteX46" fmla="*/ 283786 w 482752"/>
                <a:gd name="connsiteY46" fmla="*/ 173567 h 334434"/>
                <a:gd name="connsiteX47" fmla="*/ 406552 w 482752"/>
                <a:gd name="connsiteY47" fmla="*/ 135467 h 334434"/>
                <a:gd name="connsiteX48" fmla="*/ 347286 w 482752"/>
                <a:gd name="connsiteY48" fmla="*/ 84667 h 334434"/>
                <a:gd name="connsiteX49" fmla="*/ 241452 w 482752"/>
                <a:gd name="connsiteY49" fmla="*/ 55034 h 334434"/>
                <a:gd name="connsiteX50" fmla="*/ 165252 w 482752"/>
                <a:gd name="connsiteY50" fmla="*/ 63500 h 334434"/>
                <a:gd name="connsiteX51" fmla="*/ 93286 w 482752"/>
                <a:gd name="connsiteY51" fmla="*/ 300567 h 334434"/>
                <a:gd name="connsiteX52" fmla="*/ 169486 w 482752"/>
                <a:gd name="connsiteY52" fmla="*/ 334434 h 334434"/>
                <a:gd name="connsiteX53" fmla="*/ 300719 w 482752"/>
                <a:gd name="connsiteY53" fmla="*/ 317500 h 334434"/>
                <a:gd name="connsiteX54" fmla="*/ 372686 w 482752"/>
                <a:gd name="connsiteY54" fmla="*/ 249767 h 334434"/>
                <a:gd name="connsiteX55" fmla="*/ 347286 w 482752"/>
                <a:gd name="connsiteY55" fmla="*/ 177800 h 334434"/>
                <a:gd name="connsiteX56" fmla="*/ 249919 w 482752"/>
                <a:gd name="connsiteY56" fmla="*/ 101600 h 3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2752" h="334434">
                  <a:moveTo>
                    <a:pt x="4386" y="0"/>
                  </a:moveTo>
                  <a:cubicBezTo>
                    <a:pt x="117850" y="99285"/>
                    <a:pt x="-100272" y="-103714"/>
                    <a:pt x="63652" y="156634"/>
                  </a:cubicBezTo>
                  <a:cubicBezTo>
                    <a:pt x="145273" y="286267"/>
                    <a:pt x="221435" y="263020"/>
                    <a:pt x="355752" y="279400"/>
                  </a:cubicBezTo>
                  <a:cubicBezTo>
                    <a:pt x="383974" y="273756"/>
                    <a:pt x="416472" y="278432"/>
                    <a:pt x="440419" y="262467"/>
                  </a:cubicBezTo>
                  <a:cubicBezTo>
                    <a:pt x="455271" y="252566"/>
                    <a:pt x="452316" y="228791"/>
                    <a:pt x="457352" y="211667"/>
                  </a:cubicBezTo>
                  <a:cubicBezTo>
                    <a:pt x="466432" y="180796"/>
                    <a:pt x="474285" y="149578"/>
                    <a:pt x="482752" y="118534"/>
                  </a:cubicBezTo>
                  <a:cubicBezTo>
                    <a:pt x="468641" y="104423"/>
                    <a:pt x="457938" y="85756"/>
                    <a:pt x="440419" y="76200"/>
                  </a:cubicBezTo>
                  <a:cubicBezTo>
                    <a:pt x="425348" y="67980"/>
                    <a:pt x="406782" y="68077"/>
                    <a:pt x="389619" y="67734"/>
                  </a:cubicBezTo>
                  <a:lnTo>
                    <a:pt x="228752" y="71967"/>
                  </a:lnTo>
                  <a:cubicBezTo>
                    <a:pt x="166663" y="80434"/>
                    <a:pt x="95800" y="64438"/>
                    <a:pt x="42486" y="97367"/>
                  </a:cubicBezTo>
                  <a:cubicBezTo>
                    <a:pt x="20842" y="110735"/>
                    <a:pt x="64215" y="145947"/>
                    <a:pt x="84819" y="160867"/>
                  </a:cubicBezTo>
                  <a:cubicBezTo>
                    <a:pt x="107591" y="177357"/>
                    <a:pt x="138441" y="177800"/>
                    <a:pt x="165252" y="186267"/>
                  </a:cubicBezTo>
                  <a:cubicBezTo>
                    <a:pt x="189241" y="180623"/>
                    <a:pt x="221678" y="188460"/>
                    <a:pt x="237219" y="169334"/>
                  </a:cubicBezTo>
                  <a:cubicBezTo>
                    <a:pt x="273994" y="124074"/>
                    <a:pt x="163835" y="94341"/>
                    <a:pt x="161019" y="93134"/>
                  </a:cubicBezTo>
                  <a:cubicBezTo>
                    <a:pt x="152552" y="100189"/>
                    <a:pt x="133557" y="103474"/>
                    <a:pt x="135619" y="114300"/>
                  </a:cubicBezTo>
                  <a:cubicBezTo>
                    <a:pt x="151119" y="195678"/>
                    <a:pt x="188094" y="183824"/>
                    <a:pt x="249919" y="194734"/>
                  </a:cubicBezTo>
                  <a:cubicBezTo>
                    <a:pt x="268263" y="183445"/>
                    <a:pt x="294572" y="179740"/>
                    <a:pt x="304952" y="160867"/>
                  </a:cubicBezTo>
                  <a:cubicBezTo>
                    <a:pt x="336083" y="104265"/>
                    <a:pt x="278142" y="106398"/>
                    <a:pt x="254152" y="101600"/>
                  </a:cubicBezTo>
                  <a:cubicBezTo>
                    <a:pt x="238630" y="107245"/>
                    <a:pt x="209410" y="102119"/>
                    <a:pt x="207586" y="118534"/>
                  </a:cubicBezTo>
                  <a:cubicBezTo>
                    <a:pt x="193048" y="249381"/>
                    <a:pt x="229491" y="248999"/>
                    <a:pt x="309186" y="300567"/>
                  </a:cubicBezTo>
                  <a:cubicBezTo>
                    <a:pt x="337303" y="159976"/>
                    <a:pt x="346606" y="207259"/>
                    <a:pt x="279552" y="50800"/>
                  </a:cubicBezTo>
                  <a:cubicBezTo>
                    <a:pt x="277794" y="46699"/>
                    <a:pt x="271085" y="47978"/>
                    <a:pt x="266852" y="46567"/>
                  </a:cubicBezTo>
                  <a:cubicBezTo>
                    <a:pt x="260395" y="101457"/>
                    <a:pt x="238870" y="171001"/>
                    <a:pt x="304952" y="211667"/>
                  </a:cubicBezTo>
                  <a:cubicBezTo>
                    <a:pt x="324367" y="223615"/>
                    <a:pt x="347285" y="194734"/>
                    <a:pt x="368452" y="186267"/>
                  </a:cubicBezTo>
                  <a:cubicBezTo>
                    <a:pt x="319913" y="125594"/>
                    <a:pt x="333997" y="111333"/>
                    <a:pt x="258386" y="118534"/>
                  </a:cubicBezTo>
                  <a:cubicBezTo>
                    <a:pt x="247688" y="119553"/>
                    <a:pt x="238630" y="127001"/>
                    <a:pt x="228752" y="131234"/>
                  </a:cubicBezTo>
                  <a:cubicBezTo>
                    <a:pt x="240421" y="149571"/>
                    <a:pt x="273572" y="265583"/>
                    <a:pt x="330352" y="215900"/>
                  </a:cubicBezTo>
                  <a:cubicBezTo>
                    <a:pt x="344600" y="203433"/>
                    <a:pt x="347285" y="182033"/>
                    <a:pt x="355752" y="165100"/>
                  </a:cubicBezTo>
                  <a:cubicBezTo>
                    <a:pt x="343052" y="149578"/>
                    <a:pt x="336086" y="126434"/>
                    <a:pt x="317652" y="118534"/>
                  </a:cubicBezTo>
                  <a:cubicBezTo>
                    <a:pt x="249530" y="89339"/>
                    <a:pt x="196801" y="133630"/>
                    <a:pt x="139852" y="160867"/>
                  </a:cubicBezTo>
                  <a:cubicBezTo>
                    <a:pt x="144085" y="179211"/>
                    <a:pt x="138697" y="203153"/>
                    <a:pt x="152552" y="215900"/>
                  </a:cubicBezTo>
                  <a:cubicBezTo>
                    <a:pt x="239927" y="296285"/>
                    <a:pt x="261808" y="249501"/>
                    <a:pt x="347286" y="203200"/>
                  </a:cubicBezTo>
                  <a:cubicBezTo>
                    <a:pt x="311796" y="125123"/>
                    <a:pt x="324545" y="99610"/>
                    <a:pt x="241452" y="80434"/>
                  </a:cubicBezTo>
                  <a:cubicBezTo>
                    <a:pt x="226265" y="76929"/>
                    <a:pt x="210408" y="83256"/>
                    <a:pt x="194886" y="84667"/>
                  </a:cubicBezTo>
                  <a:cubicBezTo>
                    <a:pt x="169043" y="142811"/>
                    <a:pt x="155482" y="147659"/>
                    <a:pt x="224519" y="224367"/>
                  </a:cubicBezTo>
                  <a:cubicBezTo>
                    <a:pt x="240650" y="242290"/>
                    <a:pt x="269674" y="241300"/>
                    <a:pt x="292252" y="249767"/>
                  </a:cubicBezTo>
                  <a:cubicBezTo>
                    <a:pt x="310597" y="246945"/>
                    <a:pt x="334565" y="254816"/>
                    <a:pt x="347286" y="241300"/>
                  </a:cubicBezTo>
                  <a:cubicBezTo>
                    <a:pt x="392314" y="193458"/>
                    <a:pt x="336157" y="131612"/>
                    <a:pt x="304952" y="105834"/>
                  </a:cubicBezTo>
                  <a:cubicBezTo>
                    <a:pt x="293857" y="96669"/>
                    <a:pt x="276730" y="100189"/>
                    <a:pt x="262619" y="97367"/>
                  </a:cubicBezTo>
                  <a:cubicBezTo>
                    <a:pt x="229566" y="113894"/>
                    <a:pt x="169604" y="130786"/>
                    <a:pt x="199119" y="194734"/>
                  </a:cubicBezTo>
                  <a:cubicBezTo>
                    <a:pt x="210229" y="218806"/>
                    <a:pt x="247097" y="217311"/>
                    <a:pt x="271086" y="228600"/>
                  </a:cubicBezTo>
                  <a:cubicBezTo>
                    <a:pt x="313419" y="218722"/>
                    <a:pt x="358512" y="216955"/>
                    <a:pt x="398086" y="198967"/>
                  </a:cubicBezTo>
                  <a:cubicBezTo>
                    <a:pt x="422629" y="187811"/>
                    <a:pt x="446633" y="168670"/>
                    <a:pt x="457352" y="143934"/>
                  </a:cubicBezTo>
                  <a:cubicBezTo>
                    <a:pt x="479441" y="92960"/>
                    <a:pt x="449810" y="50312"/>
                    <a:pt x="402319" y="38100"/>
                  </a:cubicBezTo>
                  <a:cubicBezTo>
                    <a:pt x="370856" y="30010"/>
                    <a:pt x="337408" y="35278"/>
                    <a:pt x="304952" y="33867"/>
                  </a:cubicBezTo>
                  <a:cubicBezTo>
                    <a:pt x="279552" y="40923"/>
                    <a:pt x="249721" y="39058"/>
                    <a:pt x="228752" y="55034"/>
                  </a:cubicBezTo>
                  <a:cubicBezTo>
                    <a:pt x="173363" y="97235"/>
                    <a:pt x="274685" y="163897"/>
                    <a:pt x="283786" y="173567"/>
                  </a:cubicBezTo>
                  <a:cubicBezTo>
                    <a:pt x="324708" y="160867"/>
                    <a:pt x="381647" y="170333"/>
                    <a:pt x="406552" y="135467"/>
                  </a:cubicBezTo>
                  <a:cubicBezTo>
                    <a:pt x="421675" y="114294"/>
                    <a:pt x="370677" y="96063"/>
                    <a:pt x="347286" y="84667"/>
                  </a:cubicBezTo>
                  <a:cubicBezTo>
                    <a:pt x="314352" y="68622"/>
                    <a:pt x="276730" y="64912"/>
                    <a:pt x="241452" y="55034"/>
                  </a:cubicBezTo>
                  <a:lnTo>
                    <a:pt x="165252" y="63500"/>
                  </a:lnTo>
                  <a:cubicBezTo>
                    <a:pt x="92759" y="116400"/>
                    <a:pt x="47871" y="212009"/>
                    <a:pt x="93286" y="300567"/>
                  </a:cubicBezTo>
                  <a:cubicBezTo>
                    <a:pt x="105970" y="325300"/>
                    <a:pt x="144086" y="323145"/>
                    <a:pt x="169486" y="334434"/>
                  </a:cubicBezTo>
                  <a:cubicBezTo>
                    <a:pt x="213230" y="328789"/>
                    <a:pt x="260005" y="334464"/>
                    <a:pt x="300719" y="317500"/>
                  </a:cubicBezTo>
                  <a:cubicBezTo>
                    <a:pt x="331128" y="304830"/>
                    <a:pt x="362269" y="281019"/>
                    <a:pt x="372686" y="249767"/>
                  </a:cubicBezTo>
                  <a:cubicBezTo>
                    <a:pt x="380731" y="225633"/>
                    <a:pt x="361243" y="199068"/>
                    <a:pt x="347286" y="177800"/>
                  </a:cubicBezTo>
                  <a:cubicBezTo>
                    <a:pt x="308101" y="118090"/>
                    <a:pt x="298587" y="119850"/>
                    <a:pt x="249919" y="1016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Shape 10">
              <a:extLst>
                <a:ext uri="{FF2B5EF4-FFF2-40B4-BE49-F238E27FC236}">
                  <a16:creationId xmlns:a16="http://schemas.microsoft.com/office/drawing/2014/main" id="{942B7B3F-6D65-C02D-E436-60788DCD3C89}"/>
                </a:ext>
              </a:extLst>
            </p:cNvPr>
            <p:cNvSpPr/>
            <p:nvPr/>
          </p:nvSpPr>
          <p:spPr>
            <a:xfrm>
              <a:off x="9428563" y="2544695"/>
              <a:ext cx="422269" cy="280273"/>
            </a:xfrm>
            <a:custGeom>
              <a:avLst/>
              <a:gdLst>
                <a:gd name="connsiteX0" fmla="*/ 4386 w 482752"/>
                <a:gd name="connsiteY0" fmla="*/ 0 h 334434"/>
                <a:gd name="connsiteX1" fmla="*/ 63652 w 482752"/>
                <a:gd name="connsiteY1" fmla="*/ 156634 h 334434"/>
                <a:gd name="connsiteX2" fmla="*/ 355752 w 482752"/>
                <a:gd name="connsiteY2" fmla="*/ 279400 h 334434"/>
                <a:gd name="connsiteX3" fmla="*/ 440419 w 482752"/>
                <a:gd name="connsiteY3" fmla="*/ 262467 h 334434"/>
                <a:gd name="connsiteX4" fmla="*/ 457352 w 482752"/>
                <a:gd name="connsiteY4" fmla="*/ 211667 h 334434"/>
                <a:gd name="connsiteX5" fmla="*/ 482752 w 482752"/>
                <a:gd name="connsiteY5" fmla="*/ 118534 h 334434"/>
                <a:gd name="connsiteX6" fmla="*/ 440419 w 482752"/>
                <a:gd name="connsiteY6" fmla="*/ 76200 h 334434"/>
                <a:gd name="connsiteX7" fmla="*/ 389619 w 482752"/>
                <a:gd name="connsiteY7" fmla="*/ 67734 h 334434"/>
                <a:gd name="connsiteX8" fmla="*/ 228752 w 482752"/>
                <a:gd name="connsiteY8" fmla="*/ 71967 h 334434"/>
                <a:gd name="connsiteX9" fmla="*/ 42486 w 482752"/>
                <a:gd name="connsiteY9" fmla="*/ 97367 h 334434"/>
                <a:gd name="connsiteX10" fmla="*/ 84819 w 482752"/>
                <a:gd name="connsiteY10" fmla="*/ 160867 h 334434"/>
                <a:gd name="connsiteX11" fmla="*/ 165252 w 482752"/>
                <a:gd name="connsiteY11" fmla="*/ 186267 h 334434"/>
                <a:gd name="connsiteX12" fmla="*/ 237219 w 482752"/>
                <a:gd name="connsiteY12" fmla="*/ 169334 h 334434"/>
                <a:gd name="connsiteX13" fmla="*/ 161019 w 482752"/>
                <a:gd name="connsiteY13" fmla="*/ 93134 h 334434"/>
                <a:gd name="connsiteX14" fmla="*/ 135619 w 482752"/>
                <a:gd name="connsiteY14" fmla="*/ 114300 h 334434"/>
                <a:gd name="connsiteX15" fmla="*/ 249919 w 482752"/>
                <a:gd name="connsiteY15" fmla="*/ 194734 h 334434"/>
                <a:gd name="connsiteX16" fmla="*/ 304952 w 482752"/>
                <a:gd name="connsiteY16" fmla="*/ 160867 h 334434"/>
                <a:gd name="connsiteX17" fmla="*/ 254152 w 482752"/>
                <a:gd name="connsiteY17" fmla="*/ 101600 h 334434"/>
                <a:gd name="connsiteX18" fmla="*/ 207586 w 482752"/>
                <a:gd name="connsiteY18" fmla="*/ 118534 h 334434"/>
                <a:gd name="connsiteX19" fmla="*/ 309186 w 482752"/>
                <a:gd name="connsiteY19" fmla="*/ 300567 h 334434"/>
                <a:gd name="connsiteX20" fmla="*/ 279552 w 482752"/>
                <a:gd name="connsiteY20" fmla="*/ 50800 h 334434"/>
                <a:gd name="connsiteX21" fmla="*/ 266852 w 482752"/>
                <a:gd name="connsiteY21" fmla="*/ 46567 h 334434"/>
                <a:gd name="connsiteX22" fmla="*/ 304952 w 482752"/>
                <a:gd name="connsiteY22" fmla="*/ 211667 h 334434"/>
                <a:gd name="connsiteX23" fmla="*/ 368452 w 482752"/>
                <a:gd name="connsiteY23" fmla="*/ 186267 h 334434"/>
                <a:gd name="connsiteX24" fmla="*/ 258386 w 482752"/>
                <a:gd name="connsiteY24" fmla="*/ 118534 h 334434"/>
                <a:gd name="connsiteX25" fmla="*/ 228752 w 482752"/>
                <a:gd name="connsiteY25" fmla="*/ 131234 h 334434"/>
                <a:gd name="connsiteX26" fmla="*/ 330352 w 482752"/>
                <a:gd name="connsiteY26" fmla="*/ 215900 h 334434"/>
                <a:gd name="connsiteX27" fmla="*/ 355752 w 482752"/>
                <a:gd name="connsiteY27" fmla="*/ 165100 h 334434"/>
                <a:gd name="connsiteX28" fmla="*/ 317652 w 482752"/>
                <a:gd name="connsiteY28" fmla="*/ 118534 h 334434"/>
                <a:gd name="connsiteX29" fmla="*/ 139852 w 482752"/>
                <a:gd name="connsiteY29" fmla="*/ 160867 h 334434"/>
                <a:gd name="connsiteX30" fmla="*/ 152552 w 482752"/>
                <a:gd name="connsiteY30" fmla="*/ 215900 h 334434"/>
                <a:gd name="connsiteX31" fmla="*/ 347286 w 482752"/>
                <a:gd name="connsiteY31" fmla="*/ 203200 h 334434"/>
                <a:gd name="connsiteX32" fmla="*/ 241452 w 482752"/>
                <a:gd name="connsiteY32" fmla="*/ 80434 h 334434"/>
                <a:gd name="connsiteX33" fmla="*/ 194886 w 482752"/>
                <a:gd name="connsiteY33" fmla="*/ 84667 h 334434"/>
                <a:gd name="connsiteX34" fmla="*/ 224519 w 482752"/>
                <a:gd name="connsiteY34" fmla="*/ 224367 h 334434"/>
                <a:gd name="connsiteX35" fmla="*/ 292252 w 482752"/>
                <a:gd name="connsiteY35" fmla="*/ 249767 h 334434"/>
                <a:gd name="connsiteX36" fmla="*/ 347286 w 482752"/>
                <a:gd name="connsiteY36" fmla="*/ 241300 h 334434"/>
                <a:gd name="connsiteX37" fmla="*/ 304952 w 482752"/>
                <a:gd name="connsiteY37" fmla="*/ 105834 h 334434"/>
                <a:gd name="connsiteX38" fmla="*/ 262619 w 482752"/>
                <a:gd name="connsiteY38" fmla="*/ 97367 h 334434"/>
                <a:gd name="connsiteX39" fmla="*/ 199119 w 482752"/>
                <a:gd name="connsiteY39" fmla="*/ 194734 h 334434"/>
                <a:gd name="connsiteX40" fmla="*/ 271086 w 482752"/>
                <a:gd name="connsiteY40" fmla="*/ 228600 h 334434"/>
                <a:gd name="connsiteX41" fmla="*/ 398086 w 482752"/>
                <a:gd name="connsiteY41" fmla="*/ 198967 h 334434"/>
                <a:gd name="connsiteX42" fmla="*/ 457352 w 482752"/>
                <a:gd name="connsiteY42" fmla="*/ 143934 h 334434"/>
                <a:gd name="connsiteX43" fmla="*/ 402319 w 482752"/>
                <a:gd name="connsiteY43" fmla="*/ 38100 h 334434"/>
                <a:gd name="connsiteX44" fmla="*/ 304952 w 482752"/>
                <a:gd name="connsiteY44" fmla="*/ 33867 h 334434"/>
                <a:gd name="connsiteX45" fmla="*/ 228752 w 482752"/>
                <a:gd name="connsiteY45" fmla="*/ 55034 h 334434"/>
                <a:gd name="connsiteX46" fmla="*/ 283786 w 482752"/>
                <a:gd name="connsiteY46" fmla="*/ 173567 h 334434"/>
                <a:gd name="connsiteX47" fmla="*/ 406552 w 482752"/>
                <a:gd name="connsiteY47" fmla="*/ 135467 h 334434"/>
                <a:gd name="connsiteX48" fmla="*/ 347286 w 482752"/>
                <a:gd name="connsiteY48" fmla="*/ 84667 h 334434"/>
                <a:gd name="connsiteX49" fmla="*/ 241452 w 482752"/>
                <a:gd name="connsiteY49" fmla="*/ 55034 h 334434"/>
                <a:gd name="connsiteX50" fmla="*/ 165252 w 482752"/>
                <a:gd name="connsiteY50" fmla="*/ 63500 h 334434"/>
                <a:gd name="connsiteX51" fmla="*/ 93286 w 482752"/>
                <a:gd name="connsiteY51" fmla="*/ 300567 h 334434"/>
                <a:gd name="connsiteX52" fmla="*/ 169486 w 482752"/>
                <a:gd name="connsiteY52" fmla="*/ 334434 h 334434"/>
                <a:gd name="connsiteX53" fmla="*/ 300719 w 482752"/>
                <a:gd name="connsiteY53" fmla="*/ 317500 h 334434"/>
                <a:gd name="connsiteX54" fmla="*/ 372686 w 482752"/>
                <a:gd name="connsiteY54" fmla="*/ 249767 h 334434"/>
                <a:gd name="connsiteX55" fmla="*/ 347286 w 482752"/>
                <a:gd name="connsiteY55" fmla="*/ 177800 h 334434"/>
                <a:gd name="connsiteX56" fmla="*/ 249919 w 482752"/>
                <a:gd name="connsiteY56" fmla="*/ 101600 h 3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2752" h="334434">
                  <a:moveTo>
                    <a:pt x="4386" y="0"/>
                  </a:moveTo>
                  <a:cubicBezTo>
                    <a:pt x="117850" y="99285"/>
                    <a:pt x="-100272" y="-103714"/>
                    <a:pt x="63652" y="156634"/>
                  </a:cubicBezTo>
                  <a:cubicBezTo>
                    <a:pt x="145273" y="286267"/>
                    <a:pt x="221435" y="263020"/>
                    <a:pt x="355752" y="279400"/>
                  </a:cubicBezTo>
                  <a:cubicBezTo>
                    <a:pt x="383974" y="273756"/>
                    <a:pt x="416472" y="278432"/>
                    <a:pt x="440419" y="262467"/>
                  </a:cubicBezTo>
                  <a:cubicBezTo>
                    <a:pt x="455271" y="252566"/>
                    <a:pt x="452316" y="228791"/>
                    <a:pt x="457352" y="211667"/>
                  </a:cubicBezTo>
                  <a:cubicBezTo>
                    <a:pt x="466432" y="180796"/>
                    <a:pt x="474285" y="149578"/>
                    <a:pt x="482752" y="118534"/>
                  </a:cubicBezTo>
                  <a:cubicBezTo>
                    <a:pt x="468641" y="104423"/>
                    <a:pt x="457938" y="85756"/>
                    <a:pt x="440419" y="76200"/>
                  </a:cubicBezTo>
                  <a:cubicBezTo>
                    <a:pt x="425348" y="67980"/>
                    <a:pt x="406782" y="68077"/>
                    <a:pt x="389619" y="67734"/>
                  </a:cubicBezTo>
                  <a:lnTo>
                    <a:pt x="228752" y="71967"/>
                  </a:lnTo>
                  <a:cubicBezTo>
                    <a:pt x="166663" y="80434"/>
                    <a:pt x="95800" y="64438"/>
                    <a:pt x="42486" y="97367"/>
                  </a:cubicBezTo>
                  <a:cubicBezTo>
                    <a:pt x="20842" y="110735"/>
                    <a:pt x="64215" y="145947"/>
                    <a:pt x="84819" y="160867"/>
                  </a:cubicBezTo>
                  <a:cubicBezTo>
                    <a:pt x="107591" y="177357"/>
                    <a:pt x="138441" y="177800"/>
                    <a:pt x="165252" y="186267"/>
                  </a:cubicBezTo>
                  <a:cubicBezTo>
                    <a:pt x="189241" y="180623"/>
                    <a:pt x="221678" y="188460"/>
                    <a:pt x="237219" y="169334"/>
                  </a:cubicBezTo>
                  <a:cubicBezTo>
                    <a:pt x="273994" y="124074"/>
                    <a:pt x="163835" y="94341"/>
                    <a:pt x="161019" y="93134"/>
                  </a:cubicBezTo>
                  <a:cubicBezTo>
                    <a:pt x="152552" y="100189"/>
                    <a:pt x="133557" y="103474"/>
                    <a:pt x="135619" y="114300"/>
                  </a:cubicBezTo>
                  <a:cubicBezTo>
                    <a:pt x="151119" y="195678"/>
                    <a:pt x="188094" y="183824"/>
                    <a:pt x="249919" y="194734"/>
                  </a:cubicBezTo>
                  <a:cubicBezTo>
                    <a:pt x="268263" y="183445"/>
                    <a:pt x="294572" y="179740"/>
                    <a:pt x="304952" y="160867"/>
                  </a:cubicBezTo>
                  <a:cubicBezTo>
                    <a:pt x="336083" y="104265"/>
                    <a:pt x="278142" y="106398"/>
                    <a:pt x="254152" y="101600"/>
                  </a:cubicBezTo>
                  <a:cubicBezTo>
                    <a:pt x="238630" y="107245"/>
                    <a:pt x="209410" y="102119"/>
                    <a:pt x="207586" y="118534"/>
                  </a:cubicBezTo>
                  <a:cubicBezTo>
                    <a:pt x="193048" y="249381"/>
                    <a:pt x="229491" y="248999"/>
                    <a:pt x="309186" y="300567"/>
                  </a:cubicBezTo>
                  <a:cubicBezTo>
                    <a:pt x="337303" y="159976"/>
                    <a:pt x="346606" y="207259"/>
                    <a:pt x="279552" y="50800"/>
                  </a:cubicBezTo>
                  <a:cubicBezTo>
                    <a:pt x="277794" y="46699"/>
                    <a:pt x="271085" y="47978"/>
                    <a:pt x="266852" y="46567"/>
                  </a:cubicBezTo>
                  <a:cubicBezTo>
                    <a:pt x="260395" y="101457"/>
                    <a:pt x="238870" y="171001"/>
                    <a:pt x="304952" y="211667"/>
                  </a:cubicBezTo>
                  <a:cubicBezTo>
                    <a:pt x="324367" y="223615"/>
                    <a:pt x="347285" y="194734"/>
                    <a:pt x="368452" y="186267"/>
                  </a:cubicBezTo>
                  <a:cubicBezTo>
                    <a:pt x="319913" y="125594"/>
                    <a:pt x="333997" y="111333"/>
                    <a:pt x="258386" y="118534"/>
                  </a:cubicBezTo>
                  <a:cubicBezTo>
                    <a:pt x="247688" y="119553"/>
                    <a:pt x="238630" y="127001"/>
                    <a:pt x="228752" y="131234"/>
                  </a:cubicBezTo>
                  <a:cubicBezTo>
                    <a:pt x="240421" y="149571"/>
                    <a:pt x="273572" y="265583"/>
                    <a:pt x="330352" y="215900"/>
                  </a:cubicBezTo>
                  <a:cubicBezTo>
                    <a:pt x="344600" y="203433"/>
                    <a:pt x="347285" y="182033"/>
                    <a:pt x="355752" y="165100"/>
                  </a:cubicBezTo>
                  <a:cubicBezTo>
                    <a:pt x="343052" y="149578"/>
                    <a:pt x="336086" y="126434"/>
                    <a:pt x="317652" y="118534"/>
                  </a:cubicBezTo>
                  <a:cubicBezTo>
                    <a:pt x="249530" y="89339"/>
                    <a:pt x="196801" y="133630"/>
                    <a:pt x="139852" y="160867"/>
                  </a:cubicBezTo>
                  <a:cubicBezTo>
                    <a:pt x="144085" y="179211"/>
                    <a:pt x="138697" y="203153"/>
                    <a:pt x="152552" y="215900"/>
                  </a:cubicBezTo>
                  <a:cubicBezTo>
                    <a:pt x="239927" y="296285"/>
                    <a:pt x="261808" y="249501"/>
                    <a:pt x="347286" y="203200"/>
                  </a:cubicBezTo>
                  <a:cubicBezTo>
                    <a:pt x="311796" y="125123"/>
                    <a:pt x="324545" y="99610"/>
                    <a:pt x="241452" y="80434"/>
                  </a:cubicBezTo>
                  <a:cubicBezTo>
                    <a:pt x="226265" y="76929"/>
                    <a:pt x="210408" y="83256"/>
                    <a:pt x="194886" y="84667"/>
                  </a:cubicBezTo>
                  <a:cubicBezTo>
                    <a:pt x="169043" y="142811"/>
                    <a:pt x="155482" y="147659"/>
                    <a:pt x="224519" y="224367"/>
                  </a:cubicBezTo>
                  <a:cubicBezTo>
                    <a:pt x="240650" y="242290"/>
                    <a:pt x="269674" y="241300"/>
                    <a:pt x="292252" y="249767"/>
                  </a:cubicBezTo>
                  <a:cubicBezTo>
                    <a:pt x="310597" y="246945"/>
                    <a:pt x="334565" y="254816"/>
                    <a:pt x="347286" y="241300"/>
                  </a:cubicBezTo>
                  <a:cubicBezTo>
                    <a:pt x="392314" y="193458"/>
                    <a:pt x="336157" y="131612"/>
                    <a:pt x="304952" y="105834"/>
                  </a:cubicBezTo>
                  <a:cubicBezTo>
                    <a:pt x="293857" y="96669"/>
                    <a:pt x="276730" y="100189"/>
                    <a:pt x="262619" y="97367"/>
                  </a:cubicBezTo>
                  <a:cubicBezTo>
                    <a:pt x="229566" y="113894"/>
                    <a:pt x="169604" y="130786"/>
                    <a:pt x="199119" y="194734"/>
                  </a:cubicBezTo>
                  <a:cubicBezTo>
                    <a:pt x="210229" y="218806"/>
                    <a:pt x="247097" y="217311"/>
                    <a:pt x="271086" y="228600"/>
                  </a:cubicBezTo>
                  <a:cubicBezTo>
                    <a:pt x="313419" y="218722"/>
                    <a:pt x="358512" y="216955"/>
                    <a:pt x="398086" y="198967"/>
                  </a:cubicBezTo>
                  <a:cubicBezTo>
                    <a:pt x="422629" y="187811"/>
                    <a:pt x="446633" y="168670"/>
                    <a:pt x="457352" y="143934"/>
                  </a:cubicBezTo>
                  <a:cubicBezTo>
                    <a:pt x="479441" y="92960"/>
                    <a:pt x="449810" y="50312"/>
                    <a:pt x="402319" y="38100"/>
                  </a:cubicBezTo>
                  <a:cubicBezTo>
                    <a:pt x="370856" y="30010"/>
                    <a:pt x="337408" y="35278"/>
                    <a:pt x="304952" y="33867"/>
                  </a:cubicBezTo>
                  <a:cubicBezTo>
                    <a:pt x="279552" y="40923"/>
                    <a:pt x="249721" y="39058"/>
                    <a:pt x="228752" y="55034"/>
                  </a:cubicBezTo>
                  <a:cubicBezTo>
                    <a:pt x="173363" y="97235"/>
                    <a:pt x="274685" y="163897"/>
                    <a:pt x="283786" y="173567"/>
                  </a:cubicBezTo>
                  <a:cubicBezTo>
                    <a:pt x="324708" y="160867"/>
                    <a:pt x="381647" y="170333"/>
                    <a:pt x="406552" y="135467"/>
                  </a:cubicBezTo>
                  <a:cubicBezTo>
                    <a:pt x="421675" y="114294"/>
                    <a:pt x="370677" y="96063"/>
                    <a:pt x="347286" y="84667"/>
                  </a:cubicBezTo>
                  <a:cubicBezTo>
                    <a:pt x="314352" y="68622"/>
                    <a:pt x="276730" y="64912"/>
                    <a:pt x="241452" y="55034"/>
                  </a:cubicBezTo>
                  <a:lnTo>
                    <a:pt x="165252" y="63500"/>
                  </a:lnTo>
                  <a:cubicBezTo>
                    <a:pt x="92759" y="116400"/>
                    <a:pt x="47871" y="212009"/>
                    <a:pt x="93286" y="300567"/>
                  </a:cubicBezTo>
                  <a:cubicBezTo>
                    <a:pt x="105970" y="325300"/>
                    <a:pt x="144086" y="323145"/>
                    <a:pt x="169486" y="334434"/>
                  </a:cubicBezTo>
                  <a:cubicBezTo>
                    <a:pt x="213230" y="328789"/>
                    <a:pt x="260005" y="334464"/>
                    <a:pt x="300719" y="317500"/>
                  </a:cubicBezTo>
                  <a:cubicBezTo>
                    <a:pt x="331128" y="304830"/>
                    <a:pt x="362269" y="281019"/>
                    <a:pt x="372686" y="249767"/>
                  </a:cubicBezTo>
                  <a:cubicBezTo>
                    <a:pt x="380731" y="225633"/>
                    <a:pt x="361243" y="199068"/>
                    <a:pt x="347286" y="177800"/>
                  </a:cubicBezTo>
                  <a:cubicBezTo>
                    <a:pt x="308101" y="118090"/>
                    <a:pt x="298587" y="119850"/>
                    <a:pt x="249919" y="1016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reeform: Shape 11">
              <a:extLst>
                <a:ext uri="{FF2B5EF4-FFF2-40B4-BE49-F238E27FC236}">
                  <a16:creationId xmlns:a16="http://schemas.microsoft.com/office/drawing/2014/main" id="{061388D2-1814-2263-01AC-8654A9DE770C}"/>
                </a:ext>
              </a:extLst>
            </p:cNvPr>
            <p:cNvSpPr/>
            <p:nvPr/>
          </p:nvSpPr>
          <p:spPr>
            <a:xfrm>
              <a:off x="10647898" y="2556060"/>
              <a:ext cx="422269" cy="280273"/>
            </a:xfrm>
            <a:custGeom>
              <a:avLst/>
              <a:gdLst>
                <a:gd name="connsiteX0" fmla="*/ 4386 w 482752"/>
                <a:gd name="connsiteY0" fmla="*/ 0 h 334434"/>
                <a:gd name="connsiteX1" fmla="*/ 63652 w 482752"/>
                <a:gd name="connsiteY1" fmla="*/ 156634 h 334434"/>
                <a:gd name="connsiteX2" fmla="*/ 355752 w 482752"/>
                <a:gd name="connsiteY2" fmla="*/ 279400 h 334434"/>
                <a:gd name="connsiteX3" fmla="*/ 440419 w 482752"/>
                <a:gd name="connsiteY3" fmla="*/ 262467 h 334434"/>
                <a:gd name="connsiteX4" fmla="*/ 457352 w 482752"/>
                <a:gd name="connsiteY4" fmla="*/ 211667 h 334434"/>
                <a:gd name="connsiteX5" fmla="*/ 482752 w 482752"/>
                <a:gd name="connsiteY5" fmla="*/ 118534 h 334434"/>
                <a:gd name="connsiteX6" fmla="*/ 440419 w 482752"/>
                <a:gd name="connsiteY6" fmla="*/ 76200 h 334434"/>
                <a:gd name="connsiteX7" fmla="*/ 389619 w 482752"/>
                <a:gd name="connsiteY7" fmla="*/ 67734 h 334434"/>
                <a:gd name="connsiteX8" fmla="*/ 228752 w 482752"/>
                <a:gd name="connsiteY8" fmla="*/ 71967 h 334434"/>
                <a:gd name="connsiteX9" fmla="*/ 42486 w 482752"/>
                <a:gd name="connsiteY9" fmla="*/ 97367 h 334434"/>
                <a:gd name="connsiteX10" fmla="*/ 84819 w 482752"/>
                <a:gd name="connsiteY10" fmla="*/ 160867 h 334434"/>
                <a:gd name="connsiteX11" fmla="*/ 165252 w 482752"/>
                <a:gd name="connsiteY11" fmla="*/ 186267 h 334434"/>
                <a:gd name="connsiteX12" fmla="*/ 237219 w 482752"/>
                <a:gd name="connsiteY12" fmla="*/ 169334 h 334434"/>
                <a:gd name="connsiteX13" fmla="*/ 161019 w 482752"/>
                <a:gd name="connsiteY13" fmla="*/ 93134 h 334434"/>
                <a:gd name="connsiteX14" fmla="*/ 135619 w 482752"/>
                <a:gd name="connsiteY14" fmla="*/ 114300 h 334434"/>
                <a:gd name="connsiteX15" fmla="*/ 249919 w 482752"/>
                <a:gd name="connsiteY15" fmla="*/ 194734 h 334434"/>
                <a:gd name="connsiteX16" fmla="*/ 304952 w 482752"/>
                <a:gd name="connsiteY16" fmla="*/ 160867 h 334434"/>
                <a:gd name="connsiteX17" fmla="*/ 254152 w 482752"/>
                <a:gd name="connsiteY17" fmla="*/ 101600 h 334434"/>
                <a:gd name="connsiteX18" fmla="*/ 207586 w 482752"/>
                <a:gd name="connsiteY18" fmla="*/ 118534 h 334434"/>
                <a:gd name="connsiteX19" fmla="*/ 309186 w 482752"/>
                <a:gd name="connsiteY19" fmla="*/ 300567 h 334434"/>
                <a:gd name="connsiteX20" fmla="*/ 279552 w 482752"/>
                <a:gd name="connsiteY20" fmla="*/ 50800 h 334434"/>
                <a:gd name="connsiteX21" fmla="*/ 266852 w 482752"/>
                <a:gd name="connsiteY21" fmla="*/ 46567 h 334434"/>
                <a:gd name="connsiteX22" fmla="*/ 304952 w 482752"/>
                <a:gd name="connsiteY22" fmla="*/ 211667 h 334434"/>
                <a:gd name="connsiteX23" fmla="*/ 368452 w 482752"/>
                <a:gd name="connsiteY23" fmla="*/ 186267 h 334434"/>
                <a:gd name="connsiteX24" fmla="*/ 258386 w 482752"/>
                <a:gd name="connsiteY24" fmla="*/ 118534 h 334434"/>
                <a:gd name="connsiteX25" fmla="*/ 228752 w 482752"/>
                <a:gd name="connsiteY25" fmla="*/ 131234 h 334434"/>
                <a:gd name="connsiteX26" fmla="*/ 330352 w 482752"/>
                <a:gd name="connsiteY26" fmla="*/ 215900 h 334434"/>
                <a:gd name="connsiteX27" fmla="*/ 355752 w 482752"/>
                <a:gd name="connsiteY27" fmla="*/ 165100 h 334434"/>
                <a:gd name="connsiteX28" fmla="*/ 317652 w 482752"/>
                <a:gd name="connsiteY28" fmla="*/ 118534 h 334434"/>
                <a:gd name="connsiteX29" fmla="*/ 139852 w 482752"/>
                <a:gd name="connsiteY29" fmla="*/ 160867 h 334434"/>
                <a:gd name="connsiteX30" fmla="*/ 152552 w 482752"/>
                <a:gd name="connsiteY30" fmla="*/ 215900 h 334434"/>
                <a:gd name="connsiteX31" fmla="*/ 347286 w 482752"/>
                <a:gd name="connsiteY31" fmla="*/ 203200 h 334434"/>
                <a:gd name="connsiteX32" fmla="*/ 241452 w 482752"/>
                <a:gd name="connsiteY32" fmla="*/ 80434 h 334434"/>
                <a:gd name="connsiteX33" fmla="*/ 194886 w 482752"/>
                <a:gd name="connsiteY33" fmla="*/ 84667 h 334434"/>
                <a:gd name="connsiteX34" fmla="*/ 224519 w 482752"/>
                <a:gd name="connsiteY34" fmla="*/ 224367 h 334434"/>
                <a:gd name="connsiteX35" fmla="*/ 292252 w 482752"/>
                <a:gd name="connsiteY35" fmla="*/ 249767 h 334434"/>
                <a:gd name="connsiteX36" fmla="*/ 347286 w 482752"/>
                <a:gd name="connsiteY36" fmla="*/ 241300 h 334434"/>
                <a:gd name="connsiteX37" fmla="*/ 304952 w 482752"/>
                <a:gd name="connsiteY37" fmla="*/ 105834 h 334434"/>
                <a:gd name="connsiteX38" fmla="*/ 262619 w 482752"/>
                <a:gd name="connsiteY38" fmla="*/ 97367 h 334434"/>
                <a:gd name="connsiteX39" fmla="*/ 199119 w 482752"/>
                <a:gd name="connsiteY39" fmla="*/ 194734 h 334434"/>
                <a:gd name="connsiteX40" fmla="*/ 271086 w 482752"/>
                <a:gd name="connsiteY40" fmla="*/ 228600 h 334434"/>
                <a:gd name="connsiteX41" fmla="*/ 398086 w 482752"/>
                <a:gd name="connsiteY41" fmla="*/ 198967 h 334434"/>
                <a:gd name="connsiteX42" fmla="*/ 457352 w 482752"/>
                <a:gd name="connsiteY42" fmla="*/ 143934 h 334434"/>
                <a:gd name="connsiteX43" fmla="*/ 402319 w 482752"/>
                <a:gd name="connsiteY43" fmla="*/ 38100 h 334434"/>
                <a:gd name="connsiteX44" fmla="*/ 304952 w 482752"/>
                <a:gd name="connsiteY44" fmla="*/ 33867 h 334434"/>
                <a:gd name="connsiteX45" fmla="*/ 228752 w 482752"/>
                <a:gd name="connsiteY45" fmla="*/ 55034 h 334434"/>
                <a:gd name="connsiteX46" fmla="*/ 283786 w 482752"/>
                <a:gd name="connsiteY46" fmla="*/ 173567 h 334434"/>
                <a:gd name="connsiteX47" fmla="*/ 406552 w 482752"/>
                <a:gd name="connsiteY47" fmla="*/ 135467 h 334434"/>
                <a:gd name="connsiteX48" fmla="*/ 347286 w 482752"/>
                <a:gd name="connsiteY48" fmla="*/ 84667 h 334434"/>
                <a:gd name="connsiteX49" fmla="*/ 241452 w 482752"/>
                <a:gd name="connsiteY49" fmla="*/ 55034 h 334434"/>
                <a:gd name="connsiteX50" fmla="*/ 165252 w 482752"/>
                <a:gd name="connsiteY50" fmla="*/ 63500 h 334434"/>
                <a:gd name="connsiteX51" fmla="*/ 93286 w 482752"/>
                <a:gd name="connsiteY51" fmla="*/ 300567 h 334434"/>
                <a:gd name="connsiteX52" fmla="*/ 169486 w 482752"/>
                <a:gd name="connsiteY52" fmla="*/ 334434 h 334434"/>
                <a:gd name="connsiteX53" fmla="*/ 300719 w 482752"/>
                <a:gd name="connsiteY53" fmla="*/ 317500 h 334434"/>
                <a:gd name="connsiteX54" fmla="*/ 372686 w 482752"/>
                <a:gd name="connsiteY54" fmla="*/ 249767 h 334434"/>
                <a:gd name="connsiteX55" fmla="*/ 347286 w 482752"/>
                <a:gd name="connsiteY55" fmla="*/ 177800 h 334434"/>
                <a:gd name="connsiteX56" fmla="*/ 249919 w 482752"/>
                <a:gd name="connsiteY56" fmla="*/ 101600 h 3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2752" h="334434">
                  <a:moveTo>
                    <a:pt x="4386" y="0"/>
                  </a:moveTo>
                  <a:cubicBezTo>
                    <a:pt x="117850" y="99285"/>
                    <a:pt x="-100272" y="-103714"/>
                    <a:pt x="63652" y="156634"/>
                  </a:cubicBezTo>
                  <a:cubicBezTo>
                    <a:pt x="145273" y="286267"/>
                    <a:pt x="221435" y="263020"/>
                    <a:pt x="355752" y="279400"/>
                  </a:cubicBezTo>
                  <a:cubicBezTo>
                    <a:pt x="383974" y="273756"/>
                    <a:pt x="416472" y="278432"/>
                    <a:pt x="440419" y="262467"/>
                  </a:cubicBezTo>
                  <a:cubicBezTo>
                    <a:pt x="455271" y="252566"/>
                    <a:pt x="452316" y="228791"/>
                    <a:pt x="457352" y="211667"/>
                  </a:cubicBezTo>
                  <a:cubicBezTo>
                    <a:pt x="466432" y="180796"/>
                    <a:pt x="474285" y="149578"/>
                    <a:pt x="482752" y="118534"/>
                  </a:cubicBezTo>
                  <a:cubicBezTo>
                    <a:pt x="468641" y="104423"/>
                    <a:pt x="457938" y="85756"/>
                    <a:pt x="440419" y="76200"/>
                  </a:cubicBezTo>
                  <a:cubicBezTo>
                    <a:pt x="425348" y="67980"/>
                    <a:pt x="406782" y="68077"/>
                    <a:pt x="389619" y="67734"/>
                  </a:cubicBezTo>
                  <a:lnTo>
                    <a:pt x="228752" y="71967"/>
                  </a:lnTo>
                  <a:cubicBezTo>
                    <a:pt x="166663" y="80434"/>
                    <a:pt x="95800" y="64438"/>
                    <a:pt x="42486" y="97367"/>
                  </a:cubicBezTo>
                  <a:cubicBezTo>
                    <a:pt x="20842" y="110735"/>
                    <a:pt x="64215" y="145947"/>
                    <a:pt x="84819" y="160867"/>
                  </a:cubicBezTo>
                  <a:cubicBezTo>
                    <a:pt x="107591" y="177357"/>
                    <a:pt x="138441" y="177800"/>
                    <a:pt x="165252" y="186267"/>
                  </a:cubicBezTo>
                  <a:cubicBezTo>
                    <a:pt x="189241" y="180623"/>
                    <a:pt x="221678" y="188460"/>
                    <a:pt x="237219" y="169334"/>
                  </a:cubicBezTo>
                  <a:cubicBezTo>
                    <a:pt x="273994" y="124074"/>
                    <a:pt x="163835" y="94341"/>
                    <a:pt x="161019" y="93134"/>
                  </a:cubicBezTo>
                  <a:cubicBezTo>
                    <a:pt x="152552" y="100189"/>
                    <a:pt x="133557" y="103474"/>
                    <a:pt x="135619" y="114300"/>
                  </a:cubicBezTo>
                  <a:cubicBezTo>
                    <a:pt x="151119" y="195678"/>
                    <a:pt x="188094" y="183824"/>
                    <a:pt x="249919" y="194734"/>
                  </a:cubicBezTo>
                  <a:cubicBezTo>
                    <a:pt x="268263" y="183445"/>
                    <a:pt x="294572" y="179740"/>
                    <a:pt x="304952" y="160867"/>
                  </a:cubicBezTo>
                  <a:cubicBezTo>
                    <a:pt x="336083" y="104265"/>
                    <a:pt x="278142" y="106398"/>
                    <a:pt x="254152" y="101600"/>
                  </a:cubicBezTo>
                  <a:cubicBezTo>
                    <a:pt x="238630" y="107245"/>
                    <a:pt x="209410" y="102119"/>
                    <a:pt x="207586" y="118534"/>
                  </a:cubicBezTo>
                  <a:cubicBezTo>
                    <a:pt x="193048" y="249381"/>
                    <a:pt x="229491" y="248999"/>
                    <a:pt x="309186" y="300567"/>
                  </a:cubicBezTo>
                  <a:cubicBezTo>
                    <a:pt x="337303" y="159976"/>
                    <a:pt x="346606" y="207259"/>
                    <a:pt x="279552" y="50800"/>
                  </a:cubicBezTo>
                  <a:cubicBezTo>
                    <a:pt x="277794" y="46699"/>
                    <a:pt x="271085" y="47978"/>
                    <a:pt x="266852" y="46567"/>
                  </a:cubicBezTo>
                  <a:cubicBezTo>
                    <a:pt x="260395" y="101457"/>
                    <a:pt x="238870" y="171001"/>
                    <a:pt x="304952" y="211667"/>
                  </a:cubicBezTo>
                  <a:cubicBezTo>
                    <a:pt x="324367" y="223615"/>
                    <a:pt x="347285" y="194734"/>
                    <a:pt x="368452" y="186267"/>
                  </a:cubicBezTo>
                  <a:cubicBezTo>
                    <a:pt x="319913" y="125594"/>
                    <a:pt x="333997" y="111333"/>
                    <a:pt x="258386" y="118534"/>
                  </a:cubicBezTo>
                  <a:cubicBezTo>
                    <a:pt x="247688" y="119553"/>
                    <a:pt x="238630" y="127001"/>
                    <a:pt x="228752" y="131234"/>
                  </a:cubicBezTo>
                  <a:cubicBezTo>
                    <a:pt x="240421" y="149571"/>
                    <a:pt x="273572" y="265583"/>
                    <a:pt x="330352" y="215900"/>
                  </a:cubicBezTo>
                  <a:cubicBezTo>
                    <a:pt x="344600" y="203433"/>
                    <a:pt x="347285" y="182033"/>
                    <a:pt x="355752" y="165100"/>
                  </a:cubicBezTo>
                  <a:cubicBezTo>
                    <a:pt x="343052" y="149578"/>
                    <a:pt x="336086" y="126434"/>
                    <a:pt x="317652" y="118534"/>
                  </a:cubicBezTo>
                  <a:cubicBezTo>
                    <a:pt x="249530" y="89339"/>
                    <a:pt x="196801" y="133630"/>
                    <a:pt x="139852" y="160867"/>
                  </a:cubicBezTo>
                  <a:cubicBezTo>
                    <a:pt x="144085" y="179211"/>
                    <a:pt x="138697" y="203153"/>
                    <a:pt x="152552" y="215900"/>
                  </a:cubicBezTo>
                  <a:cubicBezTo>
                    <a:pt x="239927" y="296285"/>
                    <a:pt x="261808" y="249501"/>
                    <a:pt x="347286" y="203200"/>
                  </a:cubicBezTo>
                  <a:cubicBezTo>
                    <a:pt x="311796" y="125123"/>
                    <a:pt x="324545" y="99610"/>
                    <a:pt x="241452" y="80434"/>
                  </a:cubicBezTo>
                  <a:cubicBezTo>
                    <a:pt x="226265" y="76929"/>
                    <a:pt x="210408" y="83256"/>
                    <a:pt x="194886" y="84667"/>
                  </a:cubicBezTo>
                  <a:cubicBezTo>
                    <a:pt x="169043" y="142811"/>
                    <a:pt x="155482" y="147659"/>
                    <a:pt x="224519" y="224367"/>
                  </a:cubicBezTo>
                  <a:cubicBezTo>
                    <a:pt x="240650" y="242290"/>
                    <a:pt x="269674" y="241300"/>
                    <a:pt x="292252" y="249767"/>
                  </a:cubicBezTo>
                  <a:cubicBezTo>
                    <a:pt x="310597" y="246945"/>
                    <a:pt x="334565" y="254816"/>
                    <a:pt x="347286" y="241300"/>
                  </a:cubicBezTo>
                  <a:cubicBezTo>
                    <a:pt x="392314" y="193458"/>
                    <a:pt x="336157" y="131612"/>
                    <a:pt x="304952" y="105834"/>
                  </a:cubicBezTo>
                  <a:cubicBezTo>
                    <a:pt x="293857" y="96669"/>
                    <a:pt x="276730" y="100189"/>
                    <a:pt x="262619" y="97367"/>
                  </a:cubicBezTo>
                  <a:cubicBezTo>
                    <a:pt x="229566" y="113894"/>
                    <a:pt x="169604" y="130786"/>
                    <a:pt x="199119" y="194734"/>
                  </a:cubicBezTo>
                  <a:cubicBezTo>
                    <a:pt x="210229" y="218806"/>
                    <a:pt x="247097" y="217311"/>
                    <a:pt x="271086" y="228600"/>
                  </a:cubicBezTo>
                  <a:cubicBezTo>
                    <a:pt x="313419" y="218722"/>
                    <a:pt x="358512" y="216955"/>
                    <a:pt x="398086" y="198967"/>
                  </a:cubicBezTo>
                  <a:cubicBezTo>
                    <a:pt x="422629" y="187811"/>
                    <a:pt x="446633" y="168670"/>
                    <a:pt x="457352" y="143934"/>
                  </a:cubicBezTo>
                  <a:cubicBezTo>
                    <a:pt x="479441" y="92960"/>
                    <a:pt x="449810" y="50312"/>
                    <a:pt x="402319" y="38100"/>
                  </a:cubicBezTo>
                  <a:cubicBezTo>
                    <a:pt x="370856" y="30010"/>
                    <a:pt x="337408" y="35278"/>
                    <a:pt x="304952" y="33867"/>
                  </a:cubicBezTo>
                  <a:cubicBezTo>
                    <a:pt x="279552" y="40923"/>
                    <a:pt x="249721" y="39058"/>
                    <a:pt x="228752" y="55034"/>
                  </a:cubicBezTo>
                  <a:cubicBezTo>
                    <a:pt x="173363" y="97235"/>
                    <a:pt x="274685" y="163897"/>
                    <a:pt x="283786" y="173567"/>
                  </a:cubicBezTo>
                  <a:cubicBezTo>
                    <a:pt x="324708" y="160867"/>
                    <a:pt x="381647" y="170333"/>
                    <a:pt x="406552" y="135467"/>
                  </a:cubicBezTo>
                  <a:cubicBezTo>
                    <a:pt x="421675" y="114294"/>
                    <a:pt x="370677" y="96063"/>
                    <a:pt x="347286" y="84667"/>
                  </a:cubicBezTo>
                  <a:cubicBezTo>
                    <a:pt x="314352" y="68622"/>
                    <a:pt x="276730" y="64912"/>
                    <a:pt x="241452" y="55034"/>
                  </a:cubicBezTo>
                  <a:lnTo>
                    <a:pt x="165252" y="63500"/>
                  </a:lnTo>
                  <a:cubicBezTo>
                    <a:pt x="92759" y="116400"/>
                    <a:pt x="47871" y="212009"/>
                    <a:pt x="93286" y="300567"/>
                  </a:cubicBezTo>
                  <a:cubicBezTo>
                    <a:pt x="105970" y="325300"/>
                    <a:pt x="144086" y="323145"/>
                    <a:pt x="169486" y="334434"/>
                  </a:cubicBezTo>
                  <a:cubicBezTo>
                    <a:pt x="213230" y="328789"/>
                    <a:pt x="260005" y="334464"/>
                    <a:pt x="300719" y="317500"/>
                  </a:cubicBezTo>
                  <a:cubicBezTo>
                    <a:pt x="331128" y="304830"/>
                    <a:pt x="362269" y="281019"/>
                    <a:pt x="372686" y="249767"/>
                  </a:cubicBezTo>
                  <a:cubicBezTo>
                    <a:pt x="380731" y="225633"/>
                    <a:pt x="361243" y="199068"/>
                    <a:pt x="347286" y="177800"/>
                  </a:cubicBezTo>
                  <a:cubicBezTo>
                    <a:pt x="308101" y="118090"/>
                    <a:pt x="298587" y="119850"/>
                    <a:pt x="249919" y="1016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reeform: Shape 12">
              <a:extLst>
                <a:ext uri="{FF2B5EF4-FFF2-40B4-BE49-F238E27FC236}">
                  <a16:creationId xmlns:a16="http://schemas.microsoft.com/office/drawing/2014/main" id="{2186E69A-3B80-929A-9655-E0B90823BC0A}"/>
                </a:ext>
              </a:extLst>
            </p:cNvPr>
            <p:cNvSpPr/>
            <p:nvPr/>
          </p:nvSpPr>
          <p:spPr>
            <a:xfrm>
              <a:off x="10617372" y="1952927"/>
              <a:ext cx="422269" cy="280273"/>
            </a:xfrm>
            <a:custGeom>
              <a:avLst/>
              <a:gdLst>
                <a:gd name="connsiteX0" fmla="*/ 4386 w 482752"/>
                <a:gd name="connsiteY0" fmla="*/ 0 h 334434"/>
                <a:gd name="connsiteX1" fmla="*/ 63652 w 482752"/>
                <a:gd name="connsiteY1" fmla="*/ 156634 h 334434"/>
                <a:gd name="connsiteX2" fmla="*/ 355752 w 482752"/>
                <a:gd name="connsiteY2" fmla="*/ 279400 h 334434"/>
                <a:gd name="connsiteX3" fmla="*/ 440419 w 482752"/>
                <a:gd name="connsiteY3" fmla="*/ 262467 h 334434"/>
                <a:gd name="connsiteX4" fmla="*/ 457352 w 482752"/>
                <a:gd name="connsiteY4" fmla="*/ 211667 h 334434"/>
                <a:gd name="connsiteX5" fmla="*/ 482752 w 482752"/>
                <a:gd name="connsiteY5" fmla="*/ 118534 h 334434"/>
                <a:gd name="connsiteX6" fmla="*/ 440419 w 482752"/>
                <a:gd name="connsiteY6" fmla="*/ 76200 h 334434"/>
                <a:gd name="connsiteX7" fmla="*/ 389619 w 482752"/>
                <a:gd name="connsiteY7" fmla="*/ 67734 h 334434"/>
                <a:gd name="connsiteX8" fmla="*/ 228752 w 482752"/>
                <a:gd name="connsiteY8" fmla="*/ 71967 h 334434"/>
                <a:gd name="connsiteX9" fmla="*/ 42486 w 482752"/>
                <a:gd name="connsiteY9" fmla="*/ 97367 h 334434"/>
                <a:gd name="connsiteX10" fmla="*/ 84819 w 482752"/>
                <a:gd name="connsiteY10" fmla="*/ 160867 h 334434"/>
                <a:gd name="connsiteX11" fmla="*/ 165252 w 482752"/>
                <a:gd name="connsiteY11" fmla="*/ 186267 h 334434"/>
                <a:gd name="connsiteX12" fmla="*/ 237219 w 482752"/>
                <a:gd name="connsiteY12" fmla="*/ 169334 h 334434"/>
                <a:gd name="connsiteX13" fmla="*/ 161019 w 482752"/>
                <a:gd name="connsiteY13" fmla="*/ 93134 h 334434"/>
                <a:gd name="connsiteX14" fmla="*/ 135619 w 482752"/>
                <a:gd name="connsiteY14" fmla="*/ 114300 h 334434"/>
                <a:gd name="connsiteX15" fmla="*/ 249919 w 482752"/>
                <a:gd name="connsiteY15" fmla="*/ 194734 h 334434"/>
                <a:gd name="connsiteX16" fmla="*/ 304952 w 482752"/>
                <a:gd name="connsiteY16" fmla="*/ 160867 h 334434"/>
                <a:gd name="connsiteX17" fmla="*/ 254152 w 482752"/>
                <a:gd name="connsiteY17" fmla="*/ 101600 h 334434"/>
                <a:gd name="connsiteX18" fmla="*/ 207586 w 482752"/>
                <a:gd name="connsiteY18" fmla="*/ 118534 h 334434"/>
                <a:gd name="connsiteX19" fmla="*/ 309186 w 482752"/>
                <a:gd name="connsiteY19" fmla="*/ 300567 h 334434"/>
                <a:gd name="connsiteX20" fmla="*/ 279552 w 482752"/>
                <a:gd name="connsiteY20" fmla="*/ 50800 h 334434"/>
                <a:gd name="connsiteX21" fmla="*/ 266852 w 482752"/>
                <a:gd name="connsiteY21" fmla="*/ 46567 h 334434"/>
                <a:gd name="connsiteX22" fmla="*/ 304952 w 482752"/>
                <a:gd name="connsiteY22" fmla="*/ 211667 h 334434"/>
                <a:gd name="connsiteX23" fmla="*/ 368452 w 482752"/>
                <a:gd name="connsiteY23" fmla="*/ 186267 h 334434"/>
                <a:gd name="connsiteX24" fmla="*/ 258386 w 482752"/>
                <a:gd name="connsiteY24" fmla="*/ 118534 h 334434"/>
                <a:gd name="connsiteX25" fmla="*/ 228752 w 482752"/>
                <a:gd name="connsiteY25" fmla="*/ 131234 h 334434"/>
                <a:gd name="connsiteX26" fmla="*/ 330352 w 482752"/>
                <a:gd name="connsiteY26" fmla="*/ 215900 h 334434"/>
                <a:gd name="connsiteX27" fmla="*/ 355752 w 482752"/>
                <a:gd name="connsiteY27" fmla="*/ 165100 h 334434"/>
                <a:gd name="connsiteX28" fmla="*/ 317652 w 482752"/>
                <a:gd name="connsiteY28" fmla="*/ 118534 h 334434"/>
                <a:gd name="connsiteX29" fmla="*/ 139852 w 482752"/>
                <a:gd name="connsiteY29" fmla="*/ 160867 h 334434"/>
                <a:gd name="connsiteX30" fmla="*/ 152552 w 482752"/>
                <a:gd name="connsiteY30" fmla="*/ 215900 h 334434"/>
                <a:gd name="connsiteX31" fmla="*/ 347286 w 482752"/>
                <a:gd name="connsiteY31" fmla="*/ 203200 h 334434"/>
                <a:gd name="connsiteX32" fmla="*/ 241452 w 482752"/>
                <a:gd name="connsiteY32" fmla="*/ 80434 h 334434"/>
                <a:gd name="connsiteX33" fmla="*/ 194886 w 482752"/>
                <a:gd name="connsiteY33" fmla="*/ 84667 h 334434"/>
                <a:gd name="connsiteX34" fmla="*/ 224519 w 482752"/>
                <a:gd name="connsiteY34" fmla="*/ 224367 h 334434"/>
                <a:gd name="connsiteX35" fmla="*/ 292252 w 482752"/>
                <a:gd name="connsiteY35" fmla="*/ 249767 h 334434"/>
                <a:gd name="connsiteX36" fmla="*/ 347286 w 482752"/>
                <a:gd name="connsiteY36" fmla="*/ 241300 h 334434"/>
                <a:gd name="connsiteX37" fmla="*/ 304952 w 482752"/>
                <a:gd name="connsiteY37" fmla="*/ 105834 h 334434"/>
                <a:gd name="connsiteX38" fmla="*/ 262619 w 482752"/>
                <a:gd name="connsiteY38" fmla="*/ 97367 h 334434"/>
                <a:gd name="connsiteX39" fmla="*/ 199119 w 482752"/>
                <a:gd name="connsiteY39" fmla="*/ 194734 h 334434"/>
                <a:gd name="connsiteX40" fmla="*/ 271086 w 482752"/>
                <a:gd name="connsiteY40" fmla="*/ 228600 h 334434"/>
                <a:gd name="connsiteX41" fmla="*/ 398086 w 482752"/>
                <a:gd name="connsiteY41" fmla="*/ 198967 h 334434"/>
                <a:gd name="connsiteX42" fmla="*/ 457352 w 482752"/>
                <a:gd name="connsiteY42" fmla="*/ 143934 h 334434"/>
                <a:gd name="connsiteX43" fmla="*/ 402319 w 482752"/>
                <a:gd name="connsiteY43" fmla="*/ 38100 h 334434"/>
                <a:gd name="connsiteX44" fmla="*/ 304952 w 482752"/>
                <a:gd name="connsiteY44" fmla="*/ 33867 h 334434"/>
                <a:gd name="connsiteX45" fmla="*/ 228752 w 482752"/>
                <a:gd name="connsiteY45" fmla="*/ 55034 h 334434"/>
                <a:gd name="connsiteX46" fmla="*/ 283786 w 482752"/>
                <a:gd name="connsiteY46" fmla="*/ 173567 h 334434"/>
                <a:gd name="connsiteX47" fmla="*/ 406552 w 482752"/>
                <a:gd name="connsiteY47" fmla="*/ 135467 h 334434"/>
                <a:gd name="connsiteX48" fmla="*/ 347286 w 482752"/>
                <a:gd name="connsiteY48" fmla="*/ 84667 h 334434"/>
                <a:gd name="connsiteX49" fmla="*/ 241452 w 482752"/>
                <a:gd name="connsiteY49" fmla="*/ 55034 h 334434"/>
                <a:gd name="connsiteX50" fmla="*/ 165252 w 482752"/>
                <a:gd name="connsiteY50" fmla="*/ 63500 h 334434"/>
                <a:gd name="connsiteX51" fmla="*/ 93286 w 482752"/>
                <a:gd name="connsiteY51" fmla="*/ 300567 h 334434"/>
                <a:gd name="connsiteX52" fmla="*/ 169486 w 482752"/>
                <a:gd name="connsiteY52" fmla="*/ 334434 h 334434"/>
                <a:gd name="connsiteX53" fmla="*/ 300719 w 482752"/>
                <a:gd name="connsiteY53" fmla="*/ 317500 h 334434"/>
                <a:gd name="connsiteX54" fmla="*/ 372686 w 482752"/>
                <a:gd name="connsiteY54" fmla="*/ 249767 h 334434"/>
                <a:gd name="connsiteX55" fmla="*/ 347286 w 482752"/>
                <a:gd name="connsiteY55" fmla="*/ 177800 h 334434"/>
                <a:gd name="connsiteX56" fmla="*/ 249919 w 482752"/>
                <a:gd name="connsiteY56" fmla="*/ 101600 h 3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2752" h="334434">
                  <a:moveTo>
                    <a:pt x="4386" y="0"/>
                  </a:moveTo>
                  <a:cubicBezTo>
                    <a:pt x="117850" y="99285"/>
                    <a:pt x="-100272" y="-103714"/>
                    <a:pt x="63652" y="156634"/>
                  </a:cubicBezTo>
                  <a:cubicBezTo>
                    <a:pt x="145273" y="286267"/>
                    <a:pt x="221435" y="263020"/>
                    <a:pt x="355752" y="279400"/>
                  </a:cubicBezTo>
                  <a:cubicBezTo>
                    <a:pt x="383974" y="273756"/>
                    <a:pt x="416472" y="278432"/>
                    <a:pt x="440419" y="262467"/>
                  </a:cubicBezTo>
                  <a:cubicBezTo>
                    <a:pt x="455271" y="252566"/>
                    <a:pt x="452316" y="228791"/>
                    <a:pt x="457352" y="211667"/>
                  </a:cubicBezTo>
                  <a:cubicBezTo>
                    <a:pt x="466432" y="180796"/>
                    <a:pt x="474285" y="149578"/>
                    <a:pt x="482752" y="118534"/>
                  </a:cubicBezTo>
                  <a:cubicBezTo>
                    <a:pt x="468641" y="104423"/>
                    <a:pt x="457938" y="85756"/>
                    <a:pt x="440419" y="76200"/>
                  </a:cubicBezTo>
                  <a:cubicBezTo>
                    <a:pt x="425348" y="67980"/>
                    <a:pt x="406782" y="68077"/>
                    <a:pt x="389619" y="67734"/>
                  </a:cubicBezTo>
                  <a:lnTo>
                    <a:pt x="228752" y="71967"/>
                  </a:lnTo>
                  <a:cubicBezTo>
                    <a:pt x="166663" y="80434"/>
                    <a:pt x="95800" y="64438"/>
                    <a:pt x="42486" y="97367"/>
                  </a:cubicBezTo>
                  <a:cubicBezTo>
                    <a:pt x="20842" y="110735"/>
                    <a:pt x="64215" y="145947"/>
                    <a:pt x="84819" y="160867"/>
                  </a:cubicBezTo>
                  <a:cubicBezTo>
                    <a:pt x="107591" y="177357"/>
                    <a:pt x="138441" y="177800"/>
                    <a:pt x="165252" y="186267"/>
                  </a:cubicBezTo>
                  <a:cubicBezTo>
                    <a:pt x="189241" y="180623"/>
                    <a:pt x="221678" y="188460"/>
                    <a:pt x="237219" y="169334"/>
                  </a:cubicBezTo>
                  <a:cubicBezTo>
                    <a:pt x="273994" y="124074"/>
                    <a:pt x="163835" y="94341"/>
                    <a:pt x="161019" y="93134"/>
                  </a:cubicBezTo>
                  <a:cubicBezTo>
                    <a:pt x="152552" y="100189"/>
                    <a:pt x="133557" y="103474"/>
                    <a:pt x="135619" y="114300"/>
                  </a:cubicBezTo>
                  <a:cubicBezTo>
                    <a:pt x="151119" y="195678"/>
                    <a:pt x="188094" y="183824"/>
                    <a:pt x="249919" y="194734"/>
                  </a:cubicBezTo>
                  <a:cubicBezTo>
                    <a:pt x="268263" y="183445"/>
                    <a:pt x="294572" y="179740"/>
                    <a:pt x="304952" y="160867"/>
                  </a:cubicBezTo>
                  <a:cubicBezTo>
                    <a:pt x="336083" y="104265"/>
                    <a:pt x="278142" y="106398"/>
                    <a:pt x="254152" y="101600"/>
                  </a:cubicBezTo>
                  <a:cubicBezTo>
                    <a:pt x="238630" y="107245"/>
                    <a:pt x="209410" y="102119"/>
                    <a:pt x="207586" y="118534"/>
                  </a:cubicBezTo>
                  <a:cubicBezTo>
                    <a:pt x="193048" y="249381"/>
                    <a:pt x="229491" y="248999"/>
                    <a:pt x="309186" y="300567"/>
                  </a:cubicBezTo>
                  <a:cubicBezTo>
                    <a:pt x="337303" y="159976"/>
                    <a:pt x="346606" y="207259"/>
                    <a:pt x="279552" y="50800"/>
                  </a:cubicBezTo>
                  <a:cubicBezTo>
                    <a:pt x="277794" y="46699"/>
                    <a:pt x="271085" y="47978"/>
                    <a:pt x="266852" y="46567"/>
                  </a:cubicBezTo>
                  <a:cubicBezTo>
                    <a:pt x="260395" y="101457"/>
                    <a:pt x="238870" y="171001"/>
                    <a:pt x="304952" y="211667"/>
                  </a:cubicBezTo>
                  <a:cubicBezTo>
                    <a:pt x="324367" y="223615"/>
                    <a:pt x="347285" y="194734"/>
                    <a:pt x="368452" y="186267"/>
                  </a:cubicBezTo>
                  <a:cubicBezTo>
                    <a:pt x="319913" y="125594"/>
                    <a:pt x="333997" y="111333"/>
                    <a:pt x="258386" y="118534"/>
                  </a:cubicBezTo>
                  <a:cubicBezTo>
                    <a:pt x="247688" y="119553"/>
                    <a:pt x="238630" y="127001"/>
                    <a:pt x="228752" y="131234"/>
                  </a:cubicBezTo>
                  <a:cubicBezTo>
                    <a:pt x="240421" y="149571"/>
                    <a:pt x="273572" y="265583"/>
                    <a:pt x="330352" y="215900"/>
                  </a:cubicBezTo>
                  <a:cubicBezTo>
                    <a:pt x="344600" y="203433"/>
                    <a:pt x="347285" y="182033"/>
                    <a:pt x="355752" y="165100"/>
                  </a:cubicBezTo>
                  <a:cubicBezTo>
                    <a:pt x="343052" y="149578"/>
                    <a:pt x="336086" y="126434"/>
                    <a:pt x="317652" y="118534"/>
                  </a:cubicBezTo>
                  <a:cubicBezTo>
                    <a:pt x="249530" y="89339"/>
                    <a:pt x="196801" y="133630"/>
                    <a:pt x="139852" y="160867"/>
                  </a:cubicBezTo>
                  <a:cubicBezTo>
                    <a:pt x="144085" y="179211"/>
                    <a:pt x="138697" y="203153"/>
                    <a:pt x="152552" y="215900"/>
                  </a:cubicBezTo>
                  <a:cubicBezTo>
                    <a:pt x="239927" y="296285"/>
                    <a:pt x="261808" y="249501"/>
                    <a:pt x="347286" y="203200"/>
                  </a:cubicBezTo>
                  <a:cubicBezTo>
                    <a:pt x="311796" y="125123"/>
                    <a:pt x="324545" y="99610"/>
                    <a:pt x="241452" y="80434"/>
                  </a:cubicBezTo>
                  <a:cubicBezTo>
                    <a:pt x="226265" y="76929"/>
                    <a:pt x="210408" y="83256"/>
                    <a:pt x="194886" y="84667"/>
                  </a:cubicBezTo>
                  <a:cubicBezTo>
                    <a:pt x="169043" y="142811"/>
                    <a:pt x="155482" y="147659"/>
                    <a:pt x="224519" y="224367"/>
                  </a:cubicBezTo>
                  <a:cubicBezTo>
                    <a:pt x="240650" y="242290"/>
                    <a:pt x="269674" y="241300"/>
                    <a:pt x="292252" y="249767"/>
                  </a:cubicBezTo>
                  <a:cubicBezTo>
                    <a:pt x="310597" y="246945"/>
                    <a:pt x="334565" y="254816"/>
                    <a:pt x="347286" y="241300"/>
                  </a:cubicBezTo>
                  <a:cubicBezTo>
                    <a:pt x="392314" y="193458"/>
                    <a:pt x="336157" y="131612"/>
                    <a:pt x="304952" y="105834"/>
                  </a:cubicBezTo>
                  <a:cubicBezTo>
                    <a:pt x="293857" y="96669"/>
                    <a:pt x="276730" y="100189"/>
                    <a:pt x="262619" y="97367"/>
                  </a:cubicBezTo>
                  <a:cubicBezTo>
                    <a:pt x="229566" y="113894"/>
                    <a:pt x="169604" y="130786"/>
                    <a:pt x="199119" y="194734"/>
                  </a:cubicBezTo>
                  <a:cubicBezTo>
                    <a:pt x="210229" y="218806"/>
                    <a:pt x="247097" y="217311"/>
                    <a:pt x="271086" y="228600"/>
                  </a:cubicBezTo>
                  <a:cubicBezTo>
                    <a:pt x="313419" y="218722"/>
                    <a:pt x="358512" y="216955"/>
                    <a:pt x="398086" y="198967"/>
                  </a:cubicBezTo>
                  <a:cubicBezTo>
                    <a:pt x="422629" y="187811"/>
                    <a:pt x="446633" y="168670"/>
                    <a:pt x="457352" y="143934"/>
                  </a:cubicBezTo>
                  <a:cubicBezTo>
                    <a:pt x="479441" y="92960"/>
                    <a:pt x="449810" y="50312"/>
                    <a:pt x="402319" y="38100"/>
                  </a:cubicBezTo>
                  <a:cubicBezTo>
                    <a:pt x="370856" y="30010"/>
                    <a:pt x="337408" y="35278"/>
                    <a:pt x="304952" y="33867"/>
                  </a:cubicBezTo>
                  <a:cubicBezTo>
                    <a:pt x="279552" y="40923"/>
                    <a:pt x="249721" y="39058"/>
                    <a:pt x="228752" y="55034"/>
                  </a:cubicBezTo>
                  <a:cubicBezTo>
                    <a:pt x="173363" y="97235"/>
                    <a:pt x="274685" y="163897"/>
                    <a:pt x="283786" y="173567"/>
                  </a:cubicBezTo>
                  <a:cubicBezTo>
                    <a:pt x="324708" y="160867"/>
                    <a:pt x="381647" y="170333"/>
                    <a:pt x="406552" y="135467"/>
                  </a:cubicBezTo>
                  <a:cubicBezTo>
                    <a:pt x="421675" y="114294"/>
                    <a:pt x="370677" y="96063"/>
                    <a:pt x="347286" y="84667"/>
                  </a:cubicBezTo>
                  <a:cubicBezTo>
                    <a:pt x="314352" y="68622"/>
                    <a:pt x="276730" y="64912"/>
                    <a:pt x="241452" y="55034"/>
                  </a:cubicBezTo>
                  <a:lnTo>
                    <a:pt x="165252" y="63500"/>
                  </a:lnTo>
                  <a:cubicBezTo>
                    <a:pt x="92759" y="116400"/>
                    <a:pt x="47871" y="212009"/>
                    <a:pt x="93286" y="300567"/>
                  </a:cubicBezTo>
                  <a:cubicBezTo>
                    <a:pt x="105970" y="325300"/>
                    <a:pt x="144086" y="323145"/>
                    <a:pt x="169486" y="334434"/>
                  </a:cubicBezTo>
                  <a:cubicBezTo>
                    <a:pt x="213230" y="328789"/>
                    <a:pt x="260005" y="334464"/>
                    <a:pt x="300719" y="317500"/>
                  </a:cubicBezTo>
                  <a:cubicBezTo>
                    <a:pt x="331128" y="304830"/>
                    <a:pt x="362269" y="281019"/>
                    <a:pt x="372686" y="249767"/>
                  </a:cubicBezTo>
                  <a:cubicBezTo>
                    <a:pt x="380731" y="225633"/>
                    <a:pt x="361243" y="199068"/>
                    <a:pt x="347286" y="177800"/>
                  </a:cubicBezTo>
                  <a:cubicBezTo>
                    <a:pt x="308101" y="118090"/>
                    <a:pt x="298587" y="119850"/>
                    <a:pt x="249919" y="10160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A516B25C-07B6-DC88-FEC9-6FB52B85C4CE}"/>
                </a:ext>
              </a:extLst>
            </p:cNvPr>
            <p:cNvSpPr/>
            <p:nvPr/>
          </p:nvSpPr>
          <p:spPr>
            <a:xfrm>
              <a:off x="9770533" y="3589866"/>
              <a:ext cx="342900" cy="34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8B43BB11-1B44-A2A8-0EAB-68C1BE11FECC}"/>
                </a:ext>
              </a:extLst>
            </p:cNvPr>
            <p:cNvSpPr/>
            <p:nvPr/>
          </p:nvSpPr>
          <p:spPr>
            <a:xfrm>
              <a:off x="9595210" y="4085788"/>
              <a:ext cx="342900" cy="34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58AA16FE-C749-02D3-0327-C193D3E0BBB5}"/>
                </a:ext>
              </a:extLst>
            </p:cNvPr>
            <p:cNvSpPr/>
            <p:nvPr/>
          </p:nvSpPr>
          <p:spPr>
            <a:xfrm>
              <a:off x="10330752" y="3960048"/>
              <a:ext cx="342900" cy="34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7C182FDA-A990-DEE5-1FBD-BD523BD7E631}"/>
                </a:ext>
              </a:extLst>
            </p:cNvPr>
            <p:cNvSpPr/>
            <p:nvPr/>
          </p:nvSpPr>
          <p:spPr>
            <a:xfrm>
              <a:off x="10490898" y="3589866"/>
              <a:ext cx="342900" cy="34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2B66F4D6-0DFA-BB27-CDE9-DF2BB78C7E0B}"/>
                </a:ext>
              </a:extLst>
            </p:cNvPr>
            <p:cNvSpPr/>
            <p:nvPr/>
          </p:nvSpPr>
          <p:spPr>
            <a:xfrm>
              <a:off x="10898717" y="3881965"/>
              <a:ext cx="342900" cy="34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Shape 18">
              <a:extLst>
                <a:ext uri="{FF2B5EF4-FFF2-40B4-BE49-F238E27FC236}">
                  <a16:creationId xmlns:a16="http://schemas.microsoft.com/office/drawing/2014/main" id="{81FF31A2-CC72-F073-23AE-15E57D663D34}"/>
                </a:ext>
              </a:extLst>
            </p:cNvPr>
            <p:cNvSpPr/>
            <p:nvPr/>
          </p:nvSpPr>
          <p:spPr>
            <a:xfrm>
              <a:off x="9211450" y="3363972"/>
              <a:ext cx="626817" cy="403695"/>
            </a:xfrm>
            <a:custGeom>
              <a:avLst/>
              <a:gdLst>
                <a:gd name="connsiteX0" fmla="*/ 76483 w 626817"/>
                <a:gd name="connsiteY0" fmla="*/ 403695 h 403695"/>
                <a:gd name="connsiteX1" fmla="*/ 42617 w 626817"/>
                <a:gd name="connsiteY1" fmla="*/ 382528 h 403695"/>
                <a:gd name="connsiteX2" fmla="*/ 17217 w 626817"/>
                <a:gd name="connsiteY2" fmla="*/ 369828 h 403695"/>
                <a:gd name="connsiteX3" fmla="*/ 4517 w 626817"/>
                <a:gd name="connsiteY3" fmla="*/ 348661 h 403695"/>
                <a:gd name="connsiteX4" fmla="*/ 283 w 626817"/>
                <a:gd name="connsiteY4" fmla="*/ 319028 h 403695"/>
                <a:gd name="connsiteX5" fmla="*/ 29917 w 626817"/>
                <a:gd name="connsiteY5" fmla="*/ 272461 h 403695"/>
                <a:gd name="connsiteX6" fmla="*/ 84950 w 626817"/>
                <a:gd name="connsiteY6" fmla="*/ 255528 h 403695"/>
                <a:gd name="connsiteX7" fmla="*/ 190783 w 626817"/>
                <a:gd name="connsiteY7" fmla="*/ 247061 h 403695"/>
                <a:gd name="connsiteX8" fmla="*/ 220417 w 626817"/>
                <a:gd name="connsiteY8" fmla="*/ 242828 h 403695"/>
                <a:gd name="connsiteX9" fmla="*/ 254283 w 626817"/>
                <a:gd name="connsiteY9" fmla="*/ 204728 h 403695"/>
                <a:gd name="connsiteX10" fmla="*/ 262750 w 626817"/>
                <a:gd name="connsiteY10" fmla="*/ 183561 h 403695"/>
                <a:gd name="connsiteX11" fmla="*/ 258517 w 626817"/>
                <a:gd name="connsiteY11" fmla="*/ 170861 h 403695"/>
                <a:gd name="connsiteX12" fmla="*/ 237350 w 626817"/>
                <a:gd name="connsiteY12" fmla="*/ 136995 h 403695"/>
                <a:gd name="connsiteX13" fmla="*/ 224650 w 626817"/>
                <a:gd name="connsiteY13" fmla="*/ 90428 h 403695"/>
                <a:gd name="connsiteX14" fmla="*/ 258517 w 626817"/>
                <a:gd name="connsiteY14" fmla="*/ 73495 h 403695"/>
                <a:gd name="connsiteX15" fmla="*/ 279683 w 626817"/>
                <a:gd name="connsiteY15" fmla="*/ 69261 h 403695"/>
                <a:gd name="connsiteX16" fmla="*/ 300850 w 626817"/>
                <a:gd name="connsiteY16" fmla="*/ 60795 h 403695"/>
                <a:gd name="connsiteX17" fmla="*/ 529450 w 626817"/>
                <a:gd name="connsiteY17" fmla="*/ 56561 h 403695"/>
                <a:gd name="connsiteX18" fmla="*/ 576017 w 626817"/>
                <a:gd name="connsiteY18" fmla="*/ 26928 h 403695"/>
                <a:gd name="connsiteX19" fmla="*/ 588717 w 626817"/>
                <a:gd name="connsiteY19" fmla="*/ 18461 h 403695"/>
                <a:gd name="connsiteX20" fmla="*/ 601417 w 626817"/>
                <a:gd name="connsiteY20" fmla="*/ 1528 h 403695"/>
                <a:gd name="connsiteX21" fmla="*/ 626817 w 626817"/>
                <a:gd name="connsiteY21" fmla="*/ 1528 h 40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6817" h="403695">
                  <a:moveTo>
                    <a:pt x="76483" y="403695"/>
                  </a:moveTo>
                  <a:cubicBezTo>
                    <a:pt x="65194" y="396639"/>
                    <a:pt x="54175" y="389133"/>
                    <a:pt x="42617" y="382528"/>
                  </a:cubicBezTo>
                  <a:cubicBezTo>
                    <a:pt x="34398" y="377831"/>
                    <a:pt x="24292" y="376117"/>
                    <a:pt x="17217" y="369828"/>
                  </a:cubicBezTo>
                  <a:cubicBezTo>
                    <a:pt x="11067" y="364361"/>
                    <a:pt x="8750" y="355717"/>
                    <a:pt x="4517" y="348661"/>
                  </a:cubicBezTo>
                  <a:cubicBezTo>
                    <a:pt x="3106" y="338783"/>
                    <a:pt x="-1128" y="328906"/>
                    <a:pt x="283" y="319028"/>
                  </a:cubicBezTo>
                  <a:cubicBezTo>
                    <a:pt x="2621" y="302663"/>
                    <a:pt x="15417" y="281688"/>
                    <a:pt x="29917" y="272461"/>
                  </a:cubicBezTo>
                  <a:cubicBezTo>
                    <a:pt x="47153" y="261493"/>
                    <a:pt x="65153" y="257444"/>
                    <a:pt x="84950" y="255528"/>
                  </a:cubicBezTo>
                  <a:cubicBezTo>
                    <a:pt x="120176" y="252119"/>
                    <a:pt x="155547" y="250364"/>
                    <a:pt x="190783" y="247061"/>
                  </a:cubicBezTo>
                  <a:cubicBezTo>
                    <a:pt x="200718" y="246130"/>
                    <a:pt x="210539" y="244239"/>
                    <a:pt x="220417" y="242828"/>
                  </a:cubicBezTo>
                  <a:cubicBezTo>
                    <a:pt x="231640" y="231605"/>
                    <a:pt x="246728" y="219839"/>
                    <a:pt x="254283" y="204728"/>
                  </a:cubicBezTo>
                  <a:cubicBezTo>
                    <a:pt x="257681" y="197931"/>
                    <a:pt x="259928" y="190617"/>
                    <a:pt x="262750" y="183561"/>
                  </a:cubicBezTo>
                  <a:cubicBezTo>
                    <a:pt x="261339" y="179328"/>
                    <a:pt x="260513" y="174852"/>
                    <a:pt x="258517" y="170861"/>
                  </a:cubicBezTo>
                  <a:cubicBezTo>
                    <a:pt x="238160" y="130147"/>
                    <a:pt x="264515" y="196757"/>
                    <a:pt x="237350" y="136995"/>
                  </a:cubicBezTo>
                  <a:cubicBezTo>
                    <a:pt x="229676" y="120113"/>
                    <a:pt x="228159" y="107976"/>
                    <a:pt x="224650" y="90428"/>
                  </a:cubicBezTo>
                  <a:cubicBezTo>
                    <a:pt x="238947" y="80896"/>
                    <a:pt x="239684" y="79145"/>
                    <a:pt x="258517" y="73495"/>
                  </a:cubicBezTo>
                  <a:cubicBezTo>
                    <a:pt x="265409" y="71427"/>
                    <a:pt x="272791" y="71329"/>
                    <a:pt x="279683" y="69261"/>
                  </a:cubicBezTo>
                  <a:cubicBezTo>
                    <a:pt x="286962" y="67077"/>
                    <a:pt x="293261" y="61181"/>
                    <a:pt x="300850" y="60795"/>
                  </a:cubicBezTo>
                  <a:cubicBezTo>
                    <a:pt x="376965" y="56925"/>
                    <a:pt x="453250" y="57972"/>
                    <a:pt x="529450" y="56561"/>
                  </a:cubicBezTo>
                  <a:cubicBezTo>
                    <a:pt x="559938" y="26073"/>
                    <a:pt x="543109" y="33509"/>
                    <a:pt x="576017" y="26928"/>
                  </a:cubicBezTo>
                  <a:cubicBezTo>
                    <a:pt x="580250" y="24106"/>
                    <a:pt x="585119" y="22059"/>
                    <a:pt x="588717" y="18461"/>
                  </a:cubicBezTo>
                  <a:cubicBezTo>
                    <a:pt x="593706" y="13472"/>
                    <a:pt x="594970" y="4393"/>
                    <a:pt x="601417" y="1528"/>
                  </a:cubicBezTo>
                  <a:cubicBezTo>
                    <a:pt x="609154" y="-1911"/>
                    <a:pt x="618350" y="1528"/>
                    <a:pt x="626817" y="15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Shape 19">
              <a:extLst>
                <a:ext uri="{FF2B5EF4-FFF2-40B4-BE49-F238E27FC236}">
                  <a16:creationId xmlns:a16="http://schemas.microsoft.com/office/drawing/2014/main" id="{C06BC7C7-9024-E853-FA5E-CF06693CE20E}"/>
                </a:ext>
              </a:extLst>
            </p:cNvPr>
            <p:cNvSpPr/>
            <p:nvPr/>
          </p:nvSpPr>
          <p:spPr>
            <a:xfrm>
              <a:off x="9158268" y="3603743"/>
              <a:ext cx="626817" cy="403695"/>
            </a:xfrm>
            <a:custGeom>
              <a:avLst/>
              <a:gdLst>
                <a:gd name="connsiteX0" fmla="*/ 76483 w 626817"/>
                <a:gd name="connsiteY0" fmla="*/ 403695 h 403695"/>
                <a:gd name="connsiteX1" fmla="*/ 42617 w 626817"/>
                <a:gd name="connsiteY1" fmla="*/ 382528 h 403695"/>
                <a:gd name="connsiteX2" fmla="*/ 17217 w 626817"/>
                <a:gd name="connsiteY2" fmla="*/ 369828 h 403695"/>
                <a:gd name="connsiteX3" fmla="*/ 4517 w 626817"/>
                <a:gd name="connsiteY3" fmla="*/ 348661 h 403695"/>
                <a:gd name="connsiteX4" fmla="*/ 283 w 626817"/>
                <a:gd name="connsiteY4" fmla="*/ 319028 h 403695"/>
                <a:gd name="connsiteX5" fmla="*/ 29917 w 626817"/>
                <a:gd name="connsiteY5" fmla="*/ 272461 h 403695"/>
                <a:gd name="connsiteX6" fmla="*/ 84950 w 626817"/>
                <a:gd name="connsiteY6" fmla="*/ 255528 h 403695"/>
                <a:gd name="connsiteX7" fmla="*/ 190783 w 626817"/>
                <a:gd name="connsiteY7" fmla="*/ 247061 h 403695"/>
                <a:gd name="connsiteX8" fmla="*/ 220417 w 626817"/>
                <a:gd name="connsiteY8" fmla="*/ 242828 h 403695"/>
                <a:gd name="connsiteX9" fmla="*/ 254283 w 626817"/>
                <a:gd name="connsiteY9" fmla="*/ 204728 h 403695"/>
                <a:gd name="connsiteX10" fmla="*/ 262750 w 626817"/>
                <a:gd name="connsiteY10" fmla="*/ 183561 h 403695"/>
                <a:gd name="connsiteX11" fmla="*/ 258517 w 626817"/>
                <a:gd name="connsiteY11" fmla="*/ 170861 h 403695"/>
                <a:gd name="connsiteX12" fmla="*/ 237350 w 626817"/>
                <a:gd name="connsiteY12" fmla="*/ 136995 h 403695"/>
                <a:gd name="connsiteX13" fmla="*/ 224650 w 626817"/>
                <a:gd name="connsiteY13" fmla="*/ 90428 h 403695"/>
                <a:gd name="connsiteX14" fmla="*/ 258517 w 626817"/>
                <a:gd name="connsiteY14" fmla="*/ 73495 h 403695"/>
                <a:gd name="connsiteX15" fmla="*/ 279683 w 626817"/>
                <a:gd name="connsiteY15" fmla="*/ 69261 h 403695"/>
                <a:gd name="connsiteX16" fmla="*/ 300850 w 626817"/>
                <a:gd name="connsiteY16" fmla="*/ 60795 h 403695"/>
                <a:gd name="connsiteX17" fmla="*/ 529450 w 626817"/>
                <a:gd name="connsiteY17" fmla="*/ 56561 h 403695"/>
                <a:gd name="connsiteX18" fmla="*/ 576017 w 626817"/>
                <a:gd name="connsiteY18" fmla="*/ 26928 h 403695"/>
                <a:gd name="connsiteX19" fmla="*/ 588717 w 626817"/>
                <a:gd name="connsiteY19" fmla="*/ 18461 h 403695"/>
                <a:gd name="connsiteX20" fmla="*/ 601417 w 626817"/>
                <a:gd name="connsiteY20" fmla="*/ 1528 h 403695"/>
                <a:gd name="connsiteX21" fmla="*/ 626817 w 626817"/>
                <a:gd name="connsiteY21" fmla="*/ 1528 h 40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6817" h="403695">
                  <a:moveTo>
                    <a:pt x="76483" y="403695"/>
                  </a:moveTo>
                  <a:cubicBezTo>
                    <a:pt x="65194" y="396639"/>
                    <a:pt x="54175" y="389133"/>
                    <a:pt x="42617" y="382528"/>
                  </a:cubicBezTo>
                  <a:cubicBezTo>
                    <a:pt x="34398" y="377831"/>
                    <a:pt x="24292" y="376117"/>
                    <a:pt x="17217" y="369828"/>
                  </a:cubicBezTo>
                  <a:cubicBezTo>
                    <a:pt x="11067" y="364361"/>
                    <a:pt x="8750" y="355717"/>
                    <a:pt x="4517" y="348661"/>
                  </a:cubicBezTo>
                  <a:cubicBezTo>
                    <a:pt x="3106" y="338783"/>
                    <a:pt x="-1128" y="328906"/>
                    <a:pt x="283" y="319028"/>
                  </a:cubicBezTo>
                  <a:cubicBezTo>
                    <a:pt x="2621" y="302663"/>
                    <a:pt x="15417" y="281688"/>
                    <a:pt x="29917" y="272461"/>
                  </a:cubicBezTo>
                  <a:cubicBezTo>
                    <a:pt x="47153" y="261493"/>
                    <a:pt x="65153" y="257444"/>
                    <a:pt x="84950" y="255528"/>
                  </a:cubicBezTo>
                  <a:cubicBezTo>
                    <a:pt x="120176" y="252119"/>
                    <a:pt x="155547" y="250364"/>
                    <a:pt x="190783" y="247061"/>
                  </a:cubicBezTo>
                  <a:cubicBezTo>
                    <a:pt x="200718" y="246130"/>
                    <a:pt x="210539" y="244239"/>
                    <a:pt x="220417" y="242828"/>
                  </a:cubicBezTo>
                  <a:cubicBezTo>
                    <a:pt x="231640" y="231605"/>
                    <a:pt x="246728" y="219839"/>
                    <a:pt x="254283" y="204728"/>
                  </a:cubicBezTo>
                  <a:cubicBezTo>
                    <a:pt x="257681" y="197931"/>
                    <a:pt x="259928" y="190617"/>
                    <a:pt x="262750" y="183561"/>
                  </a:cubicBezTo>
                  <a:cubicBezTo>
                    <a:pt x="261339" y="179328"/>
                    <a:pt x="260513" y="174852"/>
                    <a:pt x="258517" y="170861"/>
                  </a:cubicBezTo>
                  <a:cubicBezTo>
                    <a:pt x="238160" y="130147"/>
                    <a:pt x="264515" y="196757"/>
                    <a:pt x="237350" y="136995"/>
                  </a:cubicBezTo>
                  <a:cubicBezTo>
                    <a:pt x="229676" y="120113"/>
                    <a:pt x="228159" y="107976"/>
                    <a:pt x="224650" y="90428"/>
                  </a:cubicBezTo>
                  <a:cubicBezTo>
                    <a:pt x="238947" y="80896"/>
                    <a:pt x="239684" y="79145"/>
                    <a:pt x="258517" y="73495"/>
                  </a:cubicBezTo>
                  <a:cubicBezTo>
                    <a:pt x="265409" y="71427"/>
                    <a:pt x="272791" y="71329"/>
                    <a:pt x="279683" y="69261"/>
                  </a:cubicBezTo>
                  <a:cubicBezTo>
                    <a:pt x="286962" y="67077"/>
                    <a:pt x="293261" y="61181"/>
                    <a:pt x="300850" y="60795"/>
                  </a:cubicBezTo>
                  <a:cubicBezTo>
                    <a:pt x="376965" y="56925"/>
                    <a:pt x="453250" y="57972"/>
                    <a:pt x="529450" y="56561"/>
                  </a:cubicBezTo>
                  <a:cubicBezTo>
                    <a:pt x="559938" y="26073"/>
                    <a:pt x="543109" y="33509"/>
                    <a:pt x="576017" y="26928"/>
                  </a:cubicBezTo>
                  <a:cubicBezTo>
                    <a:pt x="580250" y="24106"/>
                    <a:pt x="585119" y="22059"/>
                    <a:pt x="588717" y="18461"/>
                  </a:cubicBezTo>
                  <a:cubicBezTo>
                    <a:pt x="593706" y="13472"/>
                    <a:pt x="594970" y="4393"/>
                    <a:pt x="601417" y="1528"/>
                  </a:cubicBezTo>
                  <a:cubicBezTo>
                    <a:pt x="609154" y="-1911"/>
                    <a:pt x="618350" y="1528"/>
                    <a:pt x="626817" y="15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7A3478D0-0E67-5C87-F5DD-FFF930B8DB43}"/>
                </a:ext>
              </a:extLst>
            </p:cNvPr>
            <p:cNvSpPr/>
            <p:nvPr/>
          </p:nvSpPr>
          <p:spPr>
            <a:xfrm>
              <a:off x="10271900" y="4116858"/>
              <a:ext cx="626817" cy="403695"/>
            </a:xfrm>
            <a:custGeom>
              <a:avLst/>
              <a:gdLst>
                <a:gd name="connsiteX0" fmla="*/ 76483 w 626817"/>
                <a:gd name="connsiteY0" fmla="*/ 403695 h 403695"/>
                <a:gd name="connsiteX1" fmla="*/ 42617 w 626817"/>
                <a:gd name="connsiteY1" fmla="*/ 382528 h 403695"/>
                <a:gd name="connsiteX2" fmla="*/ 17217 w 626817"/>
                <a:gd name="connsiteY2" fmla="*/ 369828 h 403695"/>
                <a:gd name="connsiteX3" fmla="*/ 4517 w 626817"/>
                <a:gd name="connsiteY3" fmla="*/ 348661 h 403695"/>
                <a:gd name="connsiteX4" fmla="*/ 283 w 626817"/>
                <a:gd name="connsiteY4" fmla="*/ 319028 h 403695"/>
                <a:gd name="connsiteX5" fmla="*/ 29917 w 626817"/>
                <a:gd name="connsiteY5" fmla="*/ 272461 h 403695"/>
                <a:gd name="connsiteX6" fmla="*/ 84950 w 626817"/>
                <a:gd name="connsiteY6" fmla="*/ 255528 h 403695"/>
                <a:gd name="connsiteX7" fmla="*/ 190783 w 626817"/>
                <a:gd name="connsiteY7" fmla="*/ 247061 h 403695"/>
                <a:gd name="connsiteX8" fmla="*/ 220417 w 626817"/>
                <a:gd name="connsiteY8" fmla="*/ 242828 h 403695"/>
                <a:gd name="connsiteX9" fmla="*/ 254283 w 626817"/>
                <a:gd name="connsiteY9" fmla="*/ 204728 h 403695"/>
                <a:gd name="connsiteX10" fmla="*/ 262750 w 626817"/>
                <a:gd name="connsiteY10" fmla="*/ 183561 h 403695"/>
                <a:gd name="connsiteX11" fmla="*/ 258517 w 626817"/>
                <a:gd name="connsiteY11" fmla="*/ 170861 h 403695"/>
                <a:gd name="connsiteX12" fmla="*/ 237350 w 626817"/>
                <a:gd name="connsiteY12" fmla="*/ 136995 h 403695"/>
                <a:gd name="connsiteX13" fmla="*/ 224650 w 626817"/>
                <a:gd name="connsiteY13" fmla="*/ 90428 h 403695"/>
                <a:gd name="connsiteX14" fmla="*/ 258517 w 626817"/>
                <a:gd name="connsiteY14" fmla="*/ 73495 h 403695"/>
                <a:gd name="connsiteX15" fmla="*/ 279683 w 626817"/>
                <a:gd name="connsiteY15" fmla="*/ 69261 h 403695"/>
                <a:gd name="connsiteX16" fmla="*/ 300850 w 626817"/>
                <a:gd name="connsiteY16" fmla="*/ 60795 h 403695"/>
                <a:gd name="connsiteX17" fmla="*/ 529450 w 626817"/>
                <a:gd name="connsiteY17" fmla="*/ 56561 h 403695"/>
                <a:gd name="connsiteX18" fmla="*/ 576017 w 626817"/>
                <a:gd name="connsiteY18" fmla="*/ 26928 h 403695"/>
                <a:gd name="connsiteX19" fmla="*/ 588717 w 626817"/>
                <a:gd name="connsiteY19" fmla="*/ 18461 h 403695"/>
                <a:gd name="connsiteX20" fmla="*/ 601417 w 626817"/>
                <a:gd name="connsiteY20" fmla="*/ 1528 h 403695"/>
                <a:gd name="connsiteX21" fmla="*/ 626817 w 626817"/>
                <a:gd name="connsiteY21" fmla="*/ 1528 h 40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6817" h="403695">
                  <a:moveTo>
                    <a:pt x="76483" y="403695"/>
                  </a:moveTo>
                  <a:cubicBezTo>
                    <a:pt x="65194" y="396639"/>
                    <a:pt x="54175" y="389133"/>
                    <a:pt x="42617" y="382528"/>
                  </a:cubicBezTo>
                  <a:cubicBezTo>
                    <a:pt x="34398" y="377831"/>
                    <a:pt x="24292" y="376117"/>
                    <a:pt x="17217" y="369828"/>
                  </a:cubicBezTo>
                  <a:cubicBezTo>
                    <a:pt x="11067" y="364361"/>
                    <a:pt x="8750" y="355717"/>
                    <a:pt x="4517" y="348661"/>
                  </a:cubicBezTo>
                  <a:cubicBezTo>
                    <a:pt x="3106" y="338783"/>
                    <a:pt x="-1128" y="328906"/>
                    <a:pt x="283" y="319028"/>
                  </a:cubicBezTo>
                  <a:cubicBezTo>
                    <a:pt x="2621" y="302663"/>
                    <a:pt x="15417" y="281688"/>
                    <a:pt x="29917" y="272461"/>
                  </a:cubicBezTo>
                  <a:cubicBezTo>
                    <a:pt x="47153" y="261493"/>
                    <a:pt x="65153" y="257444"/>
                    <a:pt x="84950" y="255528"/>
                  </a:cubicBezTo>
                  <a:cubicBezTo>
                    <a:pt x="120176" y="252119"/>
                    <a:pt x="155547" y="250364"/>
                    <a:pt x="190783" y="247061"/>
                  </a:cubicBezTo>
                  <a:cubicBezTo>
                    <a:pt x="200718" y="246130"/>
                    <a:pt x="210539" y="244239"/>
                    <a:pt x="220417" y="242828"/>
                  </a:cubicBezTo>
                  <a:cubicBezTo>
                    <a:pt x="231640" y="231605"/>
                    <a:pt x="246728" y="219839"/>
                    <a:pt x="254283" y="204728"/>
                  </a:cubicBezTo>
                  <a:cubicBezTo>
                    <a:pt x="257681" y="197931"/>
                    <a:pt x="259928" y="190617"/>
                    <a:pt x="262750" y="183561"/>
                  </a:cubicBezTo>
                  <a:cubicBezTo>
                    <a:pt x="261339" y="179328"/>
                    <a:pt x="260513" y="174852"/>
                    <a:pt x="258517" y="170861"/>
                  </a:cubicBezTo>
                  <a:cubicBezTo>
                    <a:pt x="238160" y="130147"/>
                    <a:pt x="264515" y="196757"/>
                    <a:pt x="237350" y="136995"/>
                  </a:cubicBezTo>
                  <a:cubicBezTo>
                    <a:pt x="229676" y="120113"/>
                    <a:pt x="228159" y="107976"/>
                    <a:pt x="224650" y="90428"/>
                  </a:cubicBezTo>
                  <a:cubicBezTo>
                    <a:pt x="238947" y="80896"/>
                    <a:pt x="239684" y="79145"/>
                    <a:pt x="258517" y="73495"/>
                  </a:cubicBezTo>
                  <a:cubicBezTo>
                    <a:pt x="265409" y="71427"/>
                    <a:pt x="272791" y="71329"/>
                    <a:pt x="279683" y="69261"/>
                  </a:cubicBezTo>
                  <a:cubicBezTo>
                    <a:pt x="286962" y="67077"/>
                    <a:pt x="293261" y="61181"/>
                    <a:pt x="300850" y="60795"/>
                  </a:cubicBezTo>
                  <a:cubicBezTo>
                    <a:pt x="376965" y="56925"/>
                    <a:pt x="453250" y="57972"/>
                    <a:pt x="529450" y="56561"/>
                  </a:cubicBezTo>
                  <a:cubicBezTo>
                    <a:pt x="559938" y="26073"/>
                    <a:pt x="543109" y="33509"/>
                    <a:pt x="576017" y="26928"/>
                  </a:cubicBezTo>
                  <a:cubicBezTo>
                    <a:pt x="580250" y="24106"/>
                    <a:pt x="585119" y="22059"/>
                    <a:pt x="588717" y="18461"/>
                  </a:cubicBezTo>
                  <a:cubicBezTo>
                    <a:pt x="593706" y="13472"/>
                    <a:pt x="594970" y="4393"/>
                    <a:pt x="601417" y="1528"/>
                  </a:cubicBezTo>
                  <a:cubicBezTo>
                    <a:pt x="609154" y="-1911"/>
                    <a:pt x="618350" y="1528"/>
                    <a:pt x="626817" y="15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2C025EA1-4F93-D22F-F085-CCDC06213654}"/>
                </a:ext>
              </a:extLst>
            </p:cNvPr>
            <p:cNvSpPr/>
            <p:nvPr/>
          </p:nvSpPr>
          <p:spPr>
            <a:xfrm>
              <a:off x="10232215" y="3376494"/>
              <a:ext cx="626817" cy="403695"/>
            </a:xfrm>
            <a:custGeom>
              <a:avLst/>
              <a:gdLst>
                <a:gd name="connsiteX0" fmla="*/ 76483 w 626817"/>
                <a:gd name="connsiteY0" fmla="*/ 403695 h 403695"/>
                <a:gd name="connsiteX1" fmla="*/ 42617 w 626817"/>
                <a:gd name="connsiteY1" fmla="*/ 382528 h 403695"/>
                <a:gd name="connsiteX2" fmla="*/ 17217 w 626817"/>
                <a:gd name="connsiteY2" fmla="*/ 369828 h 403695"/>
                <a:gd name="connsiteX3" fmla="*/ 4517 w 626817"/>
                <a:gd name="connsiteY3" fmla="*/ 348661 h 403695"/>
                <a:gd name="connsiteX4" fmla="*/ 283 w 626817"/>
                <a:gd name="connsiteY4" fmla="*/ 319028 h 403695"/>
                <a:gd name="connsiteX5" fmla="*/ 29917 w 626817"/>
                <a:gd name="connsiteY5" fmla="*/ 272461 h 403695"/>
                <a:gd name="connsiteX6" fmla="*/ 84950 w 626817"/>
                <a:gd name="connsiteY6" fmla="*/ 255528 h 403695"/>
                <a:gd name="connsiteX7" fmla="*/ 190783 w 626817"/>
                <a:gd name="connsiteY7" fmla="*/ 247061 h 403695"/>
                <a:gd name="connsiteX8" fmla="*/ 220417 w 626817"/>
                <a:gd name="connsiteY8" fmla="*/ 242828 h 403695"/>
                <a:gd name="connsiteX9" fmla="*/ 254283 w 626817"/>
                <a:gd name="connsiteY9" fmla="*/ 204728 h 403695"/>
                <a:gd name="connsiteX10" fmla="*/ 262750 w 626817"/>
                <a:gd name="connsiteY10" fmla="*/ 183561 h 403695"/>
                <a:gd name="connsiteX11" fmla="*/ 258517 w 626817"/>
                <a:gd name="connsiteY11" fmla="*/ 170861 h 403695"/>
                <a:gd name="connsiteX12" fmla="*/ 237350 w 626817"/>
                <a:gd name="connsiteY12" fmla="*/ 136995 h 403695"/>
                <a:gd name="connsiteX13" fmla="*/ 224650 w 626817"/>
                <a:gd name="connsiteY13" fmla="*/ 90428 h 403695"/>
                <a:gd name="connsiteX14" fmla="*/ 258517 w 626817"/>
                <a:gd name="connsiteY14" fmla="*/ 73495 h 403695"/>
                <a:gd name="connsiteX15" fmla="*/ 279683 w 626817"/>
                <a:gd name="connsiteY15" fmla="*/ 69261 h 403695"/>
                <a:gd name="connsiteX16" fmla="*/ 300850 w 626817"/>
                <a:gd name="connsiteY16" fmla="*/ 60795 h 403695"/>
                <a:gd name="connsiteX17" fmla="*/ 529450 w 626817"/>
                <a:gd name="connsiteY17" fmla="*/ 56561 h 403695"/>
                <a:gd name="connsiteX18" fmla="*/ 576017 w 626817"/>
                <a:gd name="connsiteY18" fmla="*/ 26928 h 403695"/>
                <a:gd name="connsiteX19" fmla="*/ 588717 w 626817"/>
                <a:gd name="connsiteY19" fmla="*/ 18461 h 403695"/>
                <a:gd name="connsiteX20" fmla="*/ 601417 w 626817"/>
                <a:gd name="connsiteY20" fmla="*/ 1528 h 403695"/>
                <a:gd name="connsiteX21" fmla="*/ 626817 w 626817"/>
                <a:gd name="connsiteY21" fmla="*/ 1528 h 40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6817" h="403695">
                  <a:moveTo>
                    <a:pt x="76483" y="403695"/>
                  </a:moveTo>
                  <a:cubicBezTo>
                    <a:pt x="65194" y="396639"/>
                    <a:pt x="54175" y="389133"/>
                    <a:pt x="42617" y="382528"/>
                  </a:cubicBezTo>
                  <a:cubicBezTo>
                    <a:pt x="34398" y="377831"/>
                    <a:pt x="24292" y="376117"/>
                    <a:pt x="17217" y="369828"/>
                  </a:cubicBezTo>
                  <a:cubicBezTo>
                    <a:pt x="11067" y="364361"/>
                    <a:pt x="8750" y="355717"/>
                    <a:pt x="4517" y="348661"/>
                  </a:cubicBezTo>
                  <a:cubicBezTo>
                    <a:pt x="3106" y="338783"/>
                    <a:pt x="-1128" y="328906"/>
                    <a:pt x="283" y="319028"/>
                  </a:cubicBezTo>
                  <a:cubicBezTo>
                    <a:pt x="2621" y="302663"/>
                    <a:pt x="15417" y="281688"/>
                    <a:pt x="29917" y="272461"/>
                  </a:cubicBezTo>
                  <a:cubicBezTo>
                    <a:pt x="47153" y="261493"/>
                    <a:pt x="65153" y="257444"/>
                    <a:pt x="84950" y="255528"/>
                  </a:cubicBezTo>
                  <a:cubicBezTo>
                    <a:pt x="120176" y="252119"/>
                    <a:pt x="155547" y="250364"/>
                    <a:pt x="190783" y="247061"/>
                  </a:cubicBezTo>
                  <a:cubicBezTo>
                    <a:pt x="200718" y="246130"/>
                    <a:pt x="210539" y="244239"/>
                    <a:pt x="220417" y="242828"/>
                  </a:cubicBezTo>
                  <a:cubicBezTo>
                    <a:pt x="231640" y="231605"/>
                    <a:pt x="246728" y="219839"/>
                    <a:pt x="254283" y="204728"/>
                  </a:cubicBezTo>
                  <a:cubicBezTo>
                    <a:pt x="257681" y="197931"/>
                    <a:pt x="259928" y="190617"/>
                    <a:pt x="262750" y="183561"/>
                  </a:cubicBezTo>
                  <a:cubicBezTo>
                    <a:pt x="261339" y="179328"/>
                    <a:pt x="260513" y="174852"/>
                    <a:pt x="258517" y="170861"/>
                  </a:cubicBezTo>
                  <a:cubicBezTo>
                    <a:pt x="238160" y="130147"/>
                    <a:pt x="264515" y="196757"/>
                    <a:pt x="237350" y="136995"/>
                  </a:cubicBezTo>
                  <a:cubicBezTo>
                    <a:pt x="229676" y="120113"/>
                    <a:pt x="228159" y="107976"/>
                    <a:pt x="224650" y="90428"/>
                  </a:cubicBezTo>
                  <a:cubicBezTo>
                    <a:pt x="238947" y="80896"/>
                    <a:pt x="239684" y="79145"/>
                    <a:pt x="258517" y="73495"/>
                  </a:cubicBezTo>
                  <a:cubicBezTo>
                    <a:pt x="265409" y="71427"/>
                    <a:pt x="272791" y="71329"/>
                    <a:pt x="279683" y="69261"/>
                  </a:cubicBezTo>
                  <a:cubicBezTo>
                    <a:pt x="286962" y="67077"/>
                    <a:pt x="293261" y="61181"/>
                    <a:pt x="300850" y="60795"/>
                  </a:cubicBezTo>
                  <a:cubicBezTo>
                    <a:pt x="376965" y="56925"/>
                    <a:pt x="453250" y="57972"/>
                    <a:pt x="529450" y="56561"/>
                  </a:cubicBezTo>
                  <a:cubicBezTo>
                    <a:pt x="559938" y="26073"/>
                    <a:pt x="543109" y="33509"/>
                    <a:pt x="576017" y="26928"/>
                  </a:cubicBezTo>
                  <a:cubicBezTo>
                    <a:pt x="580250" y="24106"/>
                    <a:pt x="585119" y="22059"/>
                    <a:pt x="588717" y="18461"/>
                  </a:cubicBezTo>
                  <a:cubicBezTo>
                    <a:pt x="593706" y="13472"/>
                    <a:pt x="594970" y="4393"/>
                    <a:pt x="601417" y="1528"/>
                  </a:cubicBezTo>
                  <a:cubicBezTo>
                    <a:pt x="609154" y="-1911"/>
                    <a:pt x="618350" y="1528"/>
                    <a:pt x="626817" y="15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Freeform: Shape 22">
              <a:extLst>
                <a:ext uri="{FF2B5EF4-FFF2-40B4-BE49-F238E27FC236}">
                  <a16:creationId xmlns:a16="http://schemas.microsoft.com/office/drawing/2014/main" id="{8B02DD61-9990-2168-5651-6C80231202F1}"/>
                </a:ext>
              </a:extLst>
            </p:cNvPr>
            <p:cNvSpPr/>
            <p:nvPr/>
          </p:nvSpPr>
          <p:spPr>
            <a:xfrm>
              <a:off x="10828506" y="4164233"/>
              <a:ext cx="626817" cy="403695"/>
            </a:xfrm>
            <a:custGeom>
              <a:avLst/>
              <a:gdLst>
                <a:gd name="connsiteX0" fmla="*/ 76483 w 626817"/>
                <a:gd name="connsiteY0" fmla="*/ 403695 h 403695"/>
                <a:gd name="connsiteX1" fmla="*/ 42617 w 626817"/>
                <a:gd name="connsiteY1" fmla="*/ 382528 h 403695"/>
                <a:gd name="connsiteX2" fmla="*/ 17217 w 626817"/>
                <a:gd name="connsiteY2" fmla="*/ 369828 h 403695"/>
                <a:gd name="connsiteX3" fmla="*/ 4517 w 626817"/>
                <a:gd name="connsiteY3" fmla="*/ 348661 h 403695"/>
                <a:gd name="connsiteX4" fmla="*/ 283 w 626817"/>
                <a:gd name="connsiteY4" fmla="*/ 319028 h 403695"/>
                <a:gd name="connsiteX5" fmla="*/ 29917 w 626817"/>
                <a:gd name="connsiteY5" fmla="*/ 272461 h 403695"/>
                <a:gd name="connsiteX6" fmla="*/ 84950 w 626817"/>
                <a:gd name="connsiteY6" fmla="*/ 255528 h 403695"/>
                <a:gd name="connsiteX7" fmla="*/ 190783 w 626817"/>
                <a:gd name="connsiteY7" fmla="*/ 247061 h 403695"/>
                <a:gd name="connsiteX8" fmla="*/ 220417 w 626817"/>
                <a:gd name="connsiteY8" fmla="*/ 242828 h 403695"/>
                <a:gd name="connsiteX9" fmla="*/ 254283 w 626817"/>
                <a:gd name="connsiteY9" fmla="*/ 204728 h 403695"/>
                <a:gd name="connsiteX10" fmla="*/ 262750 w 626817"/>
                <a:gd name="connsiteY10" fmla="*/ 183561 h 403695"/>
                <a:gd name="connsiteX11" fmla="*/ 258517 w 626817"/>
                <a:gd name="connsiteY11" fmla="*/ 170861 h 403695"/>
                <a:gd name="connsiteX12" fmla="*/ 237350 w 626817"/>
                <a:gd name="connsiteY12" fmla="*/ 136995 h 403695"/>
                <a:gd name="connsiteX13" fmla="*/ 224650 w 626817"/>
                <a:gd name="connsiteY13" fmla="*/ 90428 h 403695"/>
                <a:gd name="connsiteX14" fmla="*/ 258517 w 626817"/>
                <a:gd name="connsiteY14" fmla="*/ 73495 h 403695"/>
                <a:gd name="connsiteX15" fmla="*/ 279683 w 626817"/>
                <a:gd name="connsiteY15" fmla="*/ 69261 h 403695"/>
                <a:gd name="connsiteX16" fmla="*/ 300850 w 626817"/>
                <a:gd name="connsiteY16" fmla="*/ 60795 h 403695"/>
                <a:gd name="connsiteX17" fmla="*/ 529450 w 626817"/>
                <a:gd name="connsiteY17" fmla="*/ 56561 h 403695"/>
                <a:gd name="connsiteX18" fmla="*/ 576017 w 626817"/>
                <a:gd name="connsiteY18" fmla="*/ 26928 h 403695"/>
                <a:gd name="connsiteX19" fmla="*/ 588717 w 626817"/>
                <a:gd name="connsiteY19" fmla="*/ 18461 h 403695"/>
                <a:gd name="connsiteX20" fmla="*/ 601417 w 626817"/>
                <a:gd name="connsiteY20" fmla="*/ 1528 h 403695"/>
                <a:gd name="connsiteX21" fmla="*/ 626817 w 626817"/>
                <a:gd name="connsiteY21" fmla="*/ 1528 h 40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6817" h="403695">
                  <a:moveTo>
                    <a:pt x="76483" y="403695"/>
                  </a:moveTo>
                  <a:cubicBezTo>
                    <a:pt x="65194" y="396639"/>
                    <a:pt x="54175" y="389133"/>
                    <a:pt x="42617" y="382528"/>
                  </a:cubicBezTo>
                  <a:cubicBezTo>
                    <a:pt x="34398" y="377831"/>
                    <a:pt x="24292" y="376117"/>
                    <a:pt x="17217" y="369828"/>
                  </a:cubicBezTo>
                  <a:cubicBezTo>
                    <a:pt x="11067" y="364361"/>
                    <a:pt x="8750" y="355717"/>
                    <a:pt x="4517" y="348661"/>
                  </a:cubicBezTo>
                  <a:cubicBezTo>
                    <a:pt x="3106" y="338783"/>
                    <a:pt x="-1128" y="328906"/>
                    <a:pt x="283" y="319028"/>
                  </a:cubicBezTo>
                  <a:cubicBezTo>
                    <a:pt x="2621" y="302663"/>
                    <a:pt x="15417" y="281688"/>
                    <a:pt x="29917" y="272461"/>
                  </a:cubicBezTo>
                  <a:cubicBezTo>
                    <a:pt x="47153" y="261493"/>
                    <a:pt x="65153" y="257444"/>
                    <a:pt x="84950" y="255528"/>
                  </a:cubicBezTo>
                  <a:cubicBezTo>
                    <a:pt x="120176" y="252119"/>
                    <a:pt x="155547" y="250364"/>
                    <a:pt x="190783" y="247061"/>
                  </a:cubicBezTo>
                  <a:cubicBezTo>
                    <a:pt x="200718" y="246130"/>
                    <a:pt x="210539" y="244239"/>
                    <a:pt x="220417" y="242828"/>
                  </a:cubicBezTo>
                  <a:cubicBezTo>
                    <a:pt x="231640" y="231605"/>
                    <a:pt x="246728" y="219839"/>
                    <a:pt x="254283" y="204728"/>
                  </a:cubicBezTo>
                  <a:cubicBezTo>
                    <a:pt x="257681" y="197931"/>
                    <a:pt x="259928" y="190617"/>
                    <a:pt x="262750" y="183561"/>
                  </a:cubicBezTo>
                  <a:cubicBezTo>
                    <a:pt x="261339" y="179328"/>
                    <a:pt x="260513" y="174852"/>
                    <a:pt x="258517" y="170861"/>
                  </a:cubicBezTo>
                  <a:cubicBezTo>
                    <a:pt x="238160" y="130147"/>
                    <a:pt x="264515" y="196757"/>
                    <a:pt x="237350" y="136995"/>
                  </a:cubicBezTo>
                  <a:cubicBezTo>
                    <a:pt x="229676" y="120113"/>
                    <a:pt x="228159" y="107976"/>
                    <a:pt x="224650" y="90428"/>
                  </a:cubicBezTo>
                  <a:cubicBezTo>
                    <a:pt x="238947" y="80896"/>
                    <a:pt x="239684" y="79145"/>
                    <a:pt x="258517" y="73495"/>
                  </a:cubicBezTo>
                  <a:cubicBezTo>
                    <a:pt x="265409" y="71427"/>
                    <a:pt x="272791" y="71329"/>
                    <a:pt x="279683" y="69261"/>
                  </a:cubicBezTo>
                  <a:cubicBezTo>
                    <a:pt x="286962" y="67077"/>
                    <a:pt x="293261" y="61181"/>
                    <a:pt x="300850" y="60795"/>
                  </a:cubicBezTo>
                  <a:cubicBezTo>
                    <a:pt x="376965" y="56925"/>
                    <a:pt x="453250" y="57972"/>
                    <a:pt x="529450" y="56561"/>
                  </a:cubicBezTo>
                  <a:cubicBezTo>
                    <a:pt x="559938" y="26073"/>
                    <a:pt x="543109" y="33509"/>
                    <a:pt x="576017" y="26928"/>
                  </a:cubicBezTo>
                  <a:cubicBezTo>
                    <a:pt x="580250" y="24106"/>
                    <a:pt x="585119" y="22059"/>
                    <a:pt x="588717" y="18461"/>
                  </a:cubicBezTo>
                  <a:cubicBezTo>
                    <a:pt x="593706" y="13472"/>
                    <a:pt x="594970" y="4393"/>
                    <a:pt x="601417" y="1528"/>
                  </a:cubicBezTo>
                  <a:cubicBezTo>
                    <a:pt x="609154" y="-1911"/>
                    <a:pt x="618350" y="1528"/>
                    <a:pt x="626817" y="15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6459DA77-66A3-D644-ED27-1C87E9CCBCA1}"/>
                </a:ext>
              </a:extLst>
            </p:cNvPr>
            <p:cNvSpPr/>
            <p:nvPr/>
          </p:nvSpPr>
          <p:spPr>
            <a:xfrm>
              <a:off x="9650446" y="5669166"/>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318E7C38-890F-A49A-EB25-21A5EB24CC6F}"/>
                </a:ext>
              </a:extLst>
            </p:cNvPr>
            <p:cNvSpPr/>
            <p:nvPr/>
          </p:nvSpPr>
          <p:spPr>
            <a:xfrm>
              <a:off x="9322460" y="4940299"/>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4EED3542-027C-E879-64BA-F04485B8FA27}"/>
                </a:ext>
              </a:extLst>
            </p:cNvPr>
            <p:cNvSpPr/>
            <p:nvPr/>
          </p:nvSpPr>
          <p:spPr>
            <a:xfrm>
              <a:off x="9648302" y="5368047"/>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34169C46-9D1E-9B3A-06D9-91746B429A26}"/>
                </a:ext>
              </a:extLst>
            </p:cNvPr>
            <p:cNvSpPr/>
            <p:nvPr/>
          </p:nvSpPr>
          <p:spPr>
            <a:xfrm>
              <a:off x="9614728" y="5085331"/>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044F6850-8D50-53D5-1670-CDC4AF496C37}"/>
                </a:ext>
              </a:extLst>
            </p:cNvPr>
            <p:cNvSpPr/>
            <p:nvPr/>
          </p:nvSpPr>
          <p:spPr>
            <a:xfrm>
              <a:off x="9314761" y="5231985"/>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54AE576A-22DA-E986-F0F4-7A096E280A5C}"/>
                </a:ext>
              </a:extLst>
            </p:cNvPr>
            <p:cNvSpPr/>
            <p:nvPr/>
          </p:nvSpPr>
          <p:spPr>
            <a:xfrm>
              <a:off x="9322460" y="5523670"/>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B44EFC56-2707-F277-3D70-1A47B8A3A460}"/>
                </a:ext>
              </a:extLst>
            </p:cNvPr>
            <p:cNvSpPr/>
            <p:nvPr/>
          </p:nvSpPr>
          <p:spPr>
            <a:xfrm>
              <a:off x="9322460" y="5767846"/>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09B73115-A02C-353C-A1CE-1586E893E9AE}"/>
                </a:ext>
              </a:extLst>
            </p:cNvPr>
            <p:cNvSpPr/>
            <p:nvPr/>
          </p:nvSpPr>
          <p:spPr>
            <a:xfrm>
              <a:off x="10276255" y="5715733"/>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val 41">
              <a:extLst>
                <a:ext uri="{FF2B5EF4-FFF2-40B4-BE49-F238E27FC236}">
                  <a16:creationId xmlns:a16="http://schemas.microsoft.com/office/drawing/2014/main" id="{0EF0B6DF-C054-3E27-545E-09B3723813BA}"/>
                </a:ext>
              </a:extLst>
            </p:cNvPr>
            <p:cNvSpPr/>
            <p:nvPr/>
          </p:nvSpPr>
          <p:spPr>
            <a:xfrm>
              <a:off x="9948269" y="4986866"/>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EADB889A-0F30-BAFA-CC77-D02946324514}"/>
                </a:ext>
              </a:extLst>
            </p:cNvPr>
            <p:cNvSpPr/>
            <p:nvPr/>
          </p:nvSpPr>
          <p:spPr>
            <a:xfrm>
              <a:off x="10274111" y="5414614"/>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78B1C01A-E49F-8CB5-E5A8-24F64D7C6E66}"/>
                </a:ext>
              </a:extLst>
            </p:cNvPr>
            <p:cNvSpPr/>
            <p:nvPr/>
          </p:nvSpPr>
          <p:spPr>
            <a:xfrm>
              <a:off x="10240537" y="5131898"/>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F315629D-4E09-83C5-7C3A-AE8DD98B6E68}"/>
                </a:ext>
              </a:extLst>
            </p:cNvPr>
            <p:cNvSpPr/>
            <p:nvPr/>
          </p:nvSpPr>
          <p:spPr>
            <a:xfrm>
              <a:off x="9940570" y="5278552"/>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E64EA221-6AB7-84A9-AEC9-6202E8562AB3}"/>
                </a:ext>
              </a:extLst>
            </p:cNvPr>
            <p:cNvSpPr/>
            <p:nvPr/>
          </p:nvSpPr>
          <p:spPr>
            <a:xfrm>
              <a:off x="9948269" y="5570237"/>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a:extLst>
                <a:ext uri="{FF2B5EF4-FFF2-40B4-BE49-F238E27FC236}">
                  <a16:creationId xmlns:a16="http://schemas.microsoft.com/office/drawing/2014/main" id="{F678882D-88A4-1A87-6FFA-71A710BCB799}"/>
                </a:ext>
              </a:extLst>
            </p:cNvPr>
            <p:cNvSpPr/>
            <p:nvPr/>
          </p:nvSpPr>
          <p:spPr>
            <a:xfrm>
              <a:off x="9948269" y="5814413"/>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CE2D7ECF-D6CE-0BD6-699A-9DDDE6C9E559}"/>
                </a:ext>
              </a:extLst>
            </p:cNvPr>
            <p:cNvSpPr/>
            <p:nvPr/>
          </p:nvSpPr>
          <p:spPr>
            <a:xfrm>
              <a:off x="10941253" y="5715733"/>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F69F5A48-84A8-C2D8-4B27-D56EB4709D51}"/>
                </a:ext>
              </a:extLst>
            </p:cNvPr>
            <p:cNvSpPr/>
            <p:nvPr/>
          </p:nvSpPr>
          <p:spPr>
            <a:xfrm>
              <a:off x="10613267" y="4986866"/>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249A9EEE-0FB7-B0AD-5B65-87446DFBFE11}"/>
                </a:ext>
              </a:extLst>
            </p:cNvPr>
            <p:cNvSpPr/>
            <p:nvPr/>
          </p:nvSpPr>
          <p:spPr>
            <a:xfrm>
              <a:off x="10939109" y="5414614"/>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889F71AF-4469-D598-FF51-999A629BE9C6}"/>
                </a:ext>
              </a:extLst>
            </p:cNvPr>
            <p:cNvSpPr/>
            <p:nvPr/>
          </p:nvSpPr>
          <p:spPr>
            <a:xfrm>
              <a:off x="10905535" y="5131898"/>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A7E6AE42-BF2A-F53E-39B6-E716865E3075}"/>
                </a:ext>
              </a:extLst>
            </p:cNvPr>
            <p:cNvSpPr/>
            <p:nvPr/>
          </p:nvSpPr>
          <p:spPr>
            <a:xfrm>
              <a:off x="10605568" y="5278552"/>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064514A3-E0F3-ACD5-A3D5-AF6FD97DA4FA}"/>
                </a:ext>
              </a:extLst>
            </p:cNvPr>
            <p:cNvSpPr/>
            <p:nvPr/>
          </p:nvSpPr>
          <p:spPr>
            <a:xfrm>
              <a:off x="10613267" y="5570237"/>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D884FC78-F5AF-7D25-9ACD-FAD6FF8FC656}"/>
                </a:ext>
              </a:extLst>
            </p:cNvPr>
            <p:cNvSpPr/>
            <p:nvPr/>
          </p:nvSpPr>
          <p:spPr>
            <a:xfrm>
              <a:off x="10613267" y="5814413"/>
              <a:ext cx="212206" cy="19736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Freeform: Shape 54">
              <a:extLst>
                <a:ext uri="{FF2B5EF4-FFF2-40B4-BE49-F238E27FC236}">
                  <a16:creationId xmlns:a16="http://schemas.microsoft.com/office/drawing/2014/main" id="{D0E83AE8-1E1D-C5CB-6D92-759CAA43928A}"/>
                </a:ext>
              </a:extLst>
            </p:cNvPr>
            <p:cNvSpPr/>
            <p:nvPr/>
          </p:nvSpPr>
          <p:spPr>
            <a:xfrm>
              <a:off x="9334500" y="5036699"/>
              <a:ext cx="258233" cy="161834"/>
            </a:xfrm>
            <a:custGeom>
              <a:avLst/>
              <a:gdLst>
                <a:gd name="connsiteX0" fmla="*/ 0 w 258233"/>
                <a:gd name="connsiteY0" fmla="*/ 132201 h 161834"/>
                <a:gd name="connsiteX1" fmla="*/ 21167 w 258233"/>
                <a:gd name="connsiteY1" fmla="*/ 136434 h 161834"/>
                <a:gd name="connsiteX2" fmla="*/ 59267 w 258233"/>
                <a:gd name="connsiteY2" fmla="*/ 161834 h 161834"/>
                <a:gd name="connsiteX3" fmla="*/ 122767 w 258233"/>
                <a:gd name="connsiteY3" fmla="*/ 149134 h 161834"/>
                <a:gd name="connsiteX4" fmla="*/ 165100 w 258233"/>
                <a:gd name="connsiteY4" fmla="*/ 140668 h 161834"/>
                <a:gd name="connsiteX5" fmla="*/ 190500 w 258233"/>
                <a:gd name="connsiteY5" fmla="*/ 136434 h 161834"/>
                <a:gd name="connsiteX6" fmla="*/ 198967 w 258233"/>
                <a:gd name="connsiteY6" fmla="*/ 123734 h 161834"/>
                <a:gd name="connsiteX7" fmla="*/ 211667 w 258233"/>
                <a:gd name="connsiteY7" fmla="*/ 98334 h 161834"/>
                <a:gd name="connsiteX8" fmla="*/ 232833 w 258233"/>
                <a:gd name="connsiteY8" fmla="*/ 64468 h 161834"/>
                <a:gd name="connsiteX9" fmla="*/ 245533 w 258233"/>
                <a:gd name="connsiteY9" fmla="*/ 39068 h 161834"/>
                <a:gd name="connsiteX10" fmla="*/ 245533 w 258233"/>
                <a:gd name="connsiteY10" fmla="*/ 968 h 161834"/>
                <a:gd name="connsiteX11" fmla="*/ 258233 w 258233"/>
                <a:gd name="connsiteY11" fmla="*/ 968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233" h="161834">
                  <a:moveTo>
                    <a:pt x="0" y="132201"/>
                  </a:moveTo>
                  <a:cubicBezTo>
                    <a:pt x="7056" y="133612"/>
                    <a:pt x="14731" y="133216"/>
                    <a:pt x="21167" y="136434"/>
                  </a:cubicBezTo>
                  <a:cubicBezTo>
                    <a:pt x="34819" y="143260"/>
                    <a:pt x="59267" y="161834"/>
                    <a:pt x="59267" y="161834"/>
                  </a:cubicBezTo>
                  <a:cubicBezTo>
                    <a:pt x="80434" y="157601"/>
                    <a:pt x="102289" y="155960"/>
                    <a:pt x="122767" y="149134"/>
                  </a:cubicBezTo>
                  <a:cubicBezTo>
                    <a:pt x="170179" y="133330"/>
                    <a:pt x="83447" y="129001"/>
                    <a:pt x="165100" y="140668"/>
                  </a:cubicBezTo>
                  <a:cubicBezTo>
                    <a:pt x="173567" y="139257"/>
                    <a:pt x="182823" y="140273"/>
                    <a:pt x="190500" y="136434"/>
                  </a:cubicBezTo>
                  <a:cubicBezTo>
                    <a:pt x="195051" y="134159"/>
                    <a:pt x="196496" y="128182"/>
                    <a:pt x="198967" y="123734"/>
                  </a:cubicBezTo>
                  <a:cubicBezTo>
                    <a:pt x="203564" y="115459"/>
                    <a:pt x="206971" y="106553"/>
                    <a:pt x="211667" y="98334"/>
                  </a:cubicBezTo>
                  <a:cubicBezTo>
                    <a:pt x="218272" y="86776"/>
                    <a:pt x="228623" y="77097"/>
                    <a:pt x="232833" y="64468"/>
                  </a:cubicBezTo>
                  <a:cubicBezTo>
                    <a:pt x="238676" y="46941"/>
                    <a:pt x="234592" y="55481"/>
                    <a:pt x="245533" y="39068"/>
                  </a:cubicBezTo>
                  <a:cubicBezTo>
                    <a:pt x="241342" y="26494"/>
                    <a:pt x="228763" y="11031"/>
                    <a:pt x="245533" y="968"/>
                  </a:cubicBezTo>
                  <a:cubicBezTo>
                    <a:pt x="249163" y="-1210"/>
                    <a:pt x="254000" y="968"/>
                    <a:pt x="258233" y="96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Freeform: Shape 55">
              <a:extLst>
                <a:ext uri="{FF2B5EF4-FFF2-40B4-BE49-F238E27FC236}">
                  <a16:creationId xmlns:a16="http://schemas.microsoft.com/office/drawing/2014/main" id="{4435B808-1236-39B5-5795-38628D9B2EBC}"/>
                </a:ext>
              </a:extLst>
            </p:cNvPr>
            <p:cNvSpPr/>
            <p:nvPr/>
          </p:nvSpPr>
          <p:spPr>
            <a:xfrm>
              <a:off x="9571567" y="5262033"/>
              <a:ext cx="288281" cy="258234"/>
            </a:xfrm>
            <a:custGeom>
              <a:avLst/>
              <a:gdLst>
                <a:gd name="connsiteX0" fmla="*/ 283633 w 288281"/>
                <a:gd name="connsiteY0" fmla="*/ 258234 h 258234"/>
                <a:gd name="connsiteX1" fmla="*/ 279400 w 288281"/>
                <a:gd name="connsiteY1" fmla="*/ 131234 h 258234"/>
                <a:gd name="connsiteX2" fmla="*/ 266700 w 288281"/>
                <a:gd name="connsiteY2" fmla="*/ 110067 h 258234"/>
                <a:gd name="connsiteX3" fmla="*/ 249766 w 288281"/>
                <a:gd name="connsiteY3" fmla="*/ 97367 h 258234"/>
                <a:gd name="connsiteX4" fmla="*/ 228600 w 288281"/>
                <a:gd name="connsiteY4" fmla="*/ 84667 h 258234"/>
                <a:gd name="connsiteX5" fmla="*/ 203200 w 288281"/>
                <a:gd name="connsiteY5" fmla="*/ 80434 h 258234"/>
                <a:gd name="connsiteX6" fmla="*/ 190500 w 288281"/>
                <a:gd name="connsiteY6" fmla="*/ 71967 h 258234"/>
                <a:gd name="connsiteX7" fmla="*/ 165100 w 288281"/>
                <a:gd name="connsiteY7" fmla="*/ 67734 h 258234"/>
                <a:gd name="connsiteX8" fmla="*/ 97366 w 288281"/>
                <a:gd name="connsiteY8" fmla="*/ 59267 h 258234"/>
                <a:gd name="connsiteX9" fmla="*/ 59266 w 288281"/>
                <a:gd name="connsiteY9" fmla="*/ 46567 h 258234"/>
                <a:gd name="connsiteX10" fmla="*/ 33866 w 288281"/>
                <a:gd name="connsiteY10" fmla="*/ 33867 h 258234"/>
                <a:gd name="connsiteX11" fmla="*/ 4233 w 288281"/>
                <a:gd name="connsiteY11" fmla="*/ 12700 h 258234"/>
                <a:gd name="connsiteX12" fmla="*/ 0 w 288281"/>
                <a:gd name="connsiteY12" fmla="*/ 0 h 25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281" h="258234">
                  <a:moveTo>
                    <a:pt x="283633" y="258234"/>
                  </a:moveTo>
                  <a:cubicBezTo>
                    <a:pt x="288570" y="203924"/>
                    <a:pt x="292501" y="194123"/>
                    <a:pt x="279400" y="131234"/>
                  </a:cubicBezTo>
                  <a:cubicBezTo>
                    <a:pt x="277722" y="123179"/>
                    <a:pt x="272118" y="116259"/>
                    <a:pt x="266700" y="110067"/>
                  </a:cubicBezTo>
                  <a:cubicBezTo>
                    <a:pt x="262054" y="104757"/>
                    <a:pt x="255637" y="101281"/>
                    <a:pt x="249766" y="97367"/>
                  </a:cubicBezTo>
                  <a:cubicBezTo>
                    <a:pt x="242920" y="92803"/>
                    <a:pt x="236333" y="87479"/>
                    <a:pt x="228600" y="84667"/>
                  </a:cubicBezTo>
                  <a:cubicBezTo>
                    <a:pt x="220533" y="81734"/>
                    <a:pt x="211667" y="81845"/>
                    <a:pt x="203200" y="80434"/>
                  </a:cubicBezTo>
                  <a:cubicBezTo>
                    <a:pt x="198967" y="77612"/>
                    <a:pt x="195327" y="73576"/>
                    <a:pt x="190500" y="71967"/>
                  </a:cubicBezTo>
                  <a:cubicBezTo>
                    <a:pt x="182357" y="69253"/>
                    <a:pt x="173605" y="68894"/>
                    <a:pt x="165100" y="67734"/>
                  </a:cubicBezTo>
                  <a:cubicBezTo>
                    <a:pt x="142555" y="64660"/>
                    <a:pt x="119944" y="62089"/>
                    <a:pt x="97366" y="59267"/>
                  </a:cubicBezTo>
                  <a:cubicBezTo>
                    <a:pt x="84666" y="55034"/>
                    <a:pt x="71695" y="51539"/>
                    <a:pt x="59266" y="46567"/>
                  </a:cubicBezTo>
                  <a:cubicBezTo>
                    <a:pt x="50477" y="43051"/>
                    <a:pt x="42141" y="38464"/>
                    <a:pt x="33866" y="33867"/>
                  </a:cubicBezTo>
                  <a:cubicBezTo>
                    <a:pt x="25909" y="29446"/>
                    <a:pt x="10519" y="17415"/>
                    <a:pt x="4233" y="12700"/>
                  </a:cubicBezTo>
                  <a:lnTo>
                    <a:pt x="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Freeform: Shape 56">
              <a:extLst>
                <a:ext uri="{FF2B5EF4-FFF2-40B4-BE49-F238E27FC236}">
                  <a16:creationId xmlns:a16="http://schemas.microsoft.com/office/drawing/2014/main" id="{2F5956C7-AB11-B277-62D4-142DECEF604F}"/>
                </a:ext>
              </a:extLst>
            </p:cNvPr>
            <p:cNvSpPr/>
            <p:nvPr/>
          </p:nvSpPr>
          <p:spPr>
            <a:xfrm>
              <a:off x="9313333" y="5490633"/>
              <a:ext cx="309034" cy="304800"/>
            </a:xfrm>
            <a:custGeom>
              <a:avLst/>
              <a:gdLst>
                <a:gd name="connsiteX0" fmla="*/ 0 w 309034"/>
                <a:gd name="connsiteY0" fmla="*/ 0 h 304800"/>
                <a:gd name="connsiteX1" fmla="*/ 84667 w 309034"/>
                <a:gd name="connsiteY1" fmla="*/ 4234 h 304800"/>
                <a:gd name="connsiteX2" fmla="*/ 105834 w 309034"/>
                <a:gd name="connsiteY2" fmla="*/ 12700 h 304800"/>
                <a:gd name="connsiteX3" fmla="*/ 148167 w 309034"/>
                <a:gd name="connsiteY3" fmla="*/ 16934 h 304800"/>
                <a:gd name="connsiteX4" fmla="*/ 173567 w 309034"/>
                <a:gd name="connsiteY4" fmla="*/ 29634 h 304800"/>
                <a:gd name="connsiteX5" fmla="*/ 232834 w 309034"/>
                <a:gd name="connsiteY5" fmla="*/ 42334 h 304800"/>
                <a:gd name="connsiteX6" fmla="*/ 258234 w 309034"/>
                <a:gd name="connsiteY6" fmla="*/ 50800 h 304800"/>
                <a:gd name="connsiteX7" fmla="*/ 292100 w 309034"/>
                <a:gd name="connsiteY7" fmla="*/ 67734 h 304800"/>
                <a:gd name="connsiteX8" fmla="*/ 309034 w 309034"/>
                <a:gd name="connsiteY8" fmla="*/ 97367 h 304800"/>
                <a:gd name="connsiteX9" fmla="*/ 300567 w 309034"/>
                <a:gd name="connsiteY9" fmla="*/ 156634 h 304800"/>
                <a:gd name="connsiteX10" fmla="*/ 220134 w 309034"/>
                <a:gd name="connsiteY10" fmla="*/ 220134 h 304800"/>
                <a:gd name="connsiteX11" fmla="*/ 194734 w 309034"/>
                <a:gd name="connsiteY11" fmla="*/ 249767 h 304800"/>
                <a:gd name="connsiteX12" fmla="*/ 182034 w 309034"/>
                <a:gd name="connsiteY12" fmla="*/ 266700 h 304800"/>
                <a:gd name="connsiteX13" fmla="*/ 152400 w 309034"/>
                <a:gd name="connsiteY13" fmla="*/ 287867 h 304800"/>
                <a:gd name="connsiteX14" fmla="*/ 127000 w 309034"/>
                <a:gd name="connsiteY14" fmla="*/ 296334 h 304800"/>
                <a:gd name="connsiteX15" fmla="*/ 110067 w 309034"/>
                <a:gd name="connsiteY15" fmla="*/ 304800 h 304800"/>
                <a:gd name="connsiteX16" fmla="*/ 55034 w 309034"/>
                <a:gd name="connsiteY16" fmla="*/ 300567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034" h="304800">
                  <a:moveTo>
                    <a:pt x="0" y="0"/>
                  </a:moveTo>
                  <a:cubicBezTo>
                    <a:pt x="28222" y="1411"/>
                    <a:pt x="56611" y="867"/>
                    <a:pt x="84667" y="4234"/>
                  </a:cubicBezTo>
                  <a:cubicBezTo>
                    <a:pt x="92212" y="5139"/>
                    <a:pt x="98382" y="11210"/>
                    <a:pt x="105834" y="12700"/>
                  </a:cubicBezTo>
                  <a:cubicBezTo>
                    <a:pt x="119740" y="15481"/>
                    <a:pt x="134056" y="15523"/>
                    <a:pt x="148167" y="16934"/>
                  </a:cubicBezTo>
                  <a:cubicBezTo>
                    <a:pt x="156634" y="21167"/>
                    <a:pt x="164732" y="26236"/>
                    <a:pt x="173567" y="29634"/>
                  </a:cubicBezTo>
                  <a:cubicBezTo>
                    <a:pt x="196743" y="38548"/>
                    <a:pt x="208621" y="38875"/>
                    <a:pt x="232834" y="42334"/>
                  </a:cubicBezTo>
                  <a:cubicBezTo>
                    <a:pt x="241301" y="45156"/>
                    <a:pt x="250031" y="47284"/>
                    <a:pt x="258234" y="50800"/>
                  </a:cubicBezTo>
                  <a:cubicBezTo>
                    <a:pt x="269835" y="55772"/>
                    <a:pt x="292100" y="67734"/>
                    <a:pt x="292100" y="67734"/>
                  </a:cubicBezTo>
                  <a:cubicBezTo>
                    <a:pt x="295407" y="72694"/>
                    <a:pt x="309034" y="91996"/>
                    <a:pt x="309034" y="97367"/>
                  </a:cubicBezTo>
                  <a:cubicBezTo>
                    <a:pt x="309034" y="117323"/>
                    <a:pt x="307979" y="138105"/>
                    <a:pt x="300567" y="156634"/>
                  </a:cubicBezTo>
                  <a:cubicBezTo>
                    <a:pt x="293202" y="175048"/>
                    <a:pt x="222009" y="217635"/>
                    <a:pt x="220134" y="220134"/>
                  </a:cubicBezTo>
                  <a:cubicBezTo>
                    <a:pt x="182995" y="269651"/>
                    <a:pt x="230112" y="208493"/>
                    <a:pt x="194734" y="249767"/>
                  </a:cubicBezTo>
                  <a:cubicBezTo>
                    <a:pt x="190142" y="255124"/>
                    <a:pt x="187023" y="261711"/>
                    <a:pt x="182034" y="266700"/>
                  </a:cubicBezTo>
                  <a:cubicBezTo>
                    <a:pt x="180785" y="267949"/>
                    <a:pt x="156725" y="285945"/>
                    <a:pt x="152400" y="287867"/>
                  </a:cubicBezTo>
                  <a:cubicBezTo>
                    <a:pt x="144245" y="291492"/>
                    <a:pt x="135286" y="293019"/>
                    <a:pt x="127000" y="296334"/>
                  </a:cubicBezTo>
                  <a:cubicBezTo>
                    <a:pt x="121141" y="298678"/>
                    <a:pt x="115711" y="301978"/>
                    <a:pt x="110067" y="304800"/>
                  </a:cubicBezTo>
                  <a:cubicBezTo>
                    <a:pt x="60690" y="300312"/>
                    <a:pt x="79086" y="300567"/>
                    <a:pt x="55034" y="300567"/>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Freeform: Shape 57">
              <a:extLst>
                <a:ext uri="{FF2B5EF4-FFF2-40B4-BE49-F238E27FC236}">
                  <a16:creationId xmlns:a16="http://schemas.microsoft.com/office/drawing/2014/main" id="{89E09164-817B-0A9D-F589-CD0A63142D8A}"/>
                </a:ext>
              </a:extLst>
            </p:cNvPr>
            <p:cNvSpPr/>
            <p:nvPr/>
          </p:nvSpPr>
          <p:spPr>
            <a:xfrm>
              <a:off x="9685867" y="5599747"/>
              <a:ext cx="254000" cy="297286"/>
            </a:xfrm>
            <a:custGeom>
              <a:avLst/>
              <a:gdLst>
                <a:gd name="connsiteX0" fmla="*/ 156633 w 254000"/>
                <a:gd name="connsiteY0" fmla="*/ 297286 h 297286"/>
                <a:gd name="connsiteX1" fmla="*/ 177800 w 254000"/>
                <a:gd name="connsiteY1" fmla="*/ 284586 h 297286"/>
                <a:gd name="connsiteX2" fmla="*/ 203200 w 254000"/>
                <a:gd name="connsiteY2" fmla="*/ 267653 h 297286"/>
                <a:gd name="connsiteX3" fmla="*/ 254000 w 254000"/>
                <a:gd name="connsiteY3" fmla="*/ 208386 h 297286"/>
                <a:gd name="connsiteX4" fmla="*/ 220133 w 254000"/>
                <a:gd name="connsiteY4" fmla="*/ 132186 h 297286"/>
                <a:gd name="connsiteX5" fmla="*/ 198966 w 254000"/>
                <a:gd name="connsiteY5" fmla="*/ 106786 h 297286"/>
                <a:gd name="connsiteX6" fmla="*/ 190500 w 254000"/>
                <a:gd name="connsiteY6" fmla="*/ 89853 h 297286"/>
                <a:gd name="connsiteX7" fmla="*/ 152400 w 254000"/>
                <a:gd name="connsiteY7" fmla="*/ 51753 h 297286"/>
                <a:gd name="connsiteX8" fmla="*/ 139700 w 254000"/>
                <a:gd name="connsiteY8" fmla="*/ 43286 h 297286"/>
                <a:gd name="connsiteX9" fmla="*/ 127000 w 254000"/>
                <a:gd name="connsiteY9" fmla="*/ 39053 h 297286"/>
                <a:gd name="connsiteX10" fmla="*/ 114300 w 254000"/>
                <a:gd name="connsiteY10" fmla="*/ 30586 h 297286"/>
                <a:gd name="connsiteX11" fmla="*/ 55033 w 254000"/>
                <a:gd name="connsiteY11" fmla="*/ 9420 h 297286"/>
                <a:gd name="connsiteX12" fmla="*/ 42333 w 254000"/>
                <a:gd name="connsiteY12" fmla="*/ 953 h 297286"/>
                <a:gd name="connsiteX13" fmla="*/ 0 w 254000"/>
                <a:gd name="connsiteY13" fmla="*/ 953 h 29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000" h="297286">
                  <a:moveTo>
                    <a:pt x="156633" y="297286"/>
                  </a:moveTo>
                  <a:cubicBezTo>
                    <a:pt x="163689" y="293053"/>
                    <a:pt x="171217" y="289523"/>
                    <a:pt x="177800" y="284586"/>
                  </a:cubicBezTo>
                  <a:cubicBezTo>
                    <a:pt x="203168" y="265560"/>
                    <a:pt x="177730" y="276142"/>
                    <a:pt x="203200" y="267653"/>
                  </a:cubicBezTo>
                  <a:cubicBezTo>
                    <a:pt x="249996" y="220857"/>
                    <a:pt x="236608" y="243169"/>
                    <a:pt x="254000" y="208386"/>
                  </a:cubicBezTo>
                  <a:cubicBezTo>
                    <a:pt x="228383" y="105918"/>
                    <a:pt x="258942" y="196868"/>
                    <a:pt x="220133" y="132186"/>
                  </a:cubicBezTo>
                  <a:cubicBezTo>
                    <a:pt x="202841" y="103366"/>
                    <a:pt x="233609" y="124107"/>
                    <a:pt x="198966" y="106786"/>
                  </a:cubicBezTo>
                  <a:cubicBezTo>
                    <a:pt x="196144" y="101142"/>
                    <a:pt x="194119" y="95023"/>
                    <a:pt x="190500" y="89853"/>
                  </a:cubicBezTo>
                  <a:cubicBezTo>
                    <a:pt x="175047" y="67777"/>
                    <a:pt x="171600" y="65468"/>
                    <a:pt x="152400" y="51753"/>
                  </a:cubicBezTo>
                  <a:cubicBezTo>
                    <a:pt x="148260" y="48796"/>
                    <a:pt x="144251" y="45561"/>
                    <a:pt x="139700" y="43286"/>
                  </a:cubicBezTo>
                  <a:cubicBezTo>
                    <a:pt x="135709" y="41290"/>
                    <a:pt x="131233" y="40464"/>
                    <a:pt x="127000" y="39053"/>
                  </a:cubicBezTo>
                  <a:cubicBezTo>
                    <a:pt x="122767" y="36231"/>
                    <a:pt x="118997" y="32543"/>
                    <a:pt x="114300" y="30586"/>
                  </a:cubicBezTo>
                  <a:cubicBezTo>
                    <a:pt x="94724" y="22429"/>
                    <a:pt x="74022" y="18914"/>
                    <a:pt x="55033" y="9420"/>
                  </a:cubicBezTo>
                  <a:cubicBezTo>
                    <a:pt x="50482" y="7145"/>
                    <a:pt x="47362" y="1727"/>
                    <a:pt x="42333" y="953"/>
                  </a:cubicBezTo>
                  <a:cubicBezTo>
                    <a:pt x="28386" y="-1193"/>
                    <a:pt x="14111" y="953"/>
                    <a:pt x="0" y="953"/>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Freeform: Shape 58">
              <a:extLst>
                <a:ext uri="{FF2B5EF4-FFF2-40B4-BE49-F238E27FC236}">
                  <a16:creationId xmlns:a16="http://schemas.microsoft.com/office/drawing/2014/main" id="{C3498207-EDBB-81B8-156E-33FA6E997A1C}"/>
                </a:ext>
              </a:extLst>
            </p:cNvPr>
            <p:cNvSpPr/>
            <p:nvPr/>
          </p:nvSpPr>
          <p:spPr>
            <a:xfrm>
              <a:off x="10833100" y="5080000"/>
              <a:ext cx="296333" cy="292100"/>
            </a:xfrm>
            <a:custGeom>
              <a:avLst/>
              <a:gdLst>
                <a:gd name="connsiteX0" fmla="*/ 296333 w 296333"/>
                <a:gd name="connsiteY0" fmla="*/ 292100 h 292100"/>
                <a:gd name="connsiteX1" fmla="*/ 148167 w 296333"/>
                <a:gd name="connsiteY1" fmla="*/ 287867 h 292100"/>
                <a:gd name="connsiteX2" fmla="*/ 127000 w 296333"/>
                <a:gd name="connsiteY2" fmla="*/ 279400 h 292100"/>
                <a:gd name="connsiteX3" fmla="*/ 97367 w 296333"/>
                <a:gd name="connsiteY3" fmla="*/ 275167 h 292100"/>
                <a:gd name="connsiteX4" fmla="*/ 76200 w 296333"/>
                <a:gd name="connsiteY4" fmla="*/ 262467 h 292100"/>
                <a:gd name="connsiteX5" fmla="*/ 59267 w 296333"/>
                <a:gd name="connsiteY5" fmla="*/ 249767 h 292100"/>
                <a:gd name="connsiteX6" fmla="*/ 46567 w 296333"/>
                <a:gd name="connsiteY6" fmla="*/ 245533 h 292100"/>
                <a:gd name="connsiteX7" fmla="*/ 21167 w 296333"/>
                <a:gd name="connsiteY7" fmla="*/ 224367 h 292100"/>
                <a:gd name="connsiteX8" fmla="*/ 8467 w 296333"/>
                <a:gd name="connsiteY8" fmla="*/ 211667 h 292100"/>
                <a:gd name="connsiteX9" fmla="*/ 0 w 296333"/>
                <a:gd name="connsiteY9" fmla="*/ 182033 h 292100"/>
                <a:gd name="connsiteX10" fmla="*/ 12700 w 296333"/>
                <a:gd name="connsiteY10" fmla="*/ 110067 h 292100"/>
                <a:gd name="connsiteX11" fmla="*/ 21167 w 296333"/>
                <a:gd name="connsiteY11" fmla="*/ 88900 h 292100"/>
                <a:gd name="connsiteX12" fmla="*/ 25400 w 296333"/>
                <a:gd name="connsiteY12" fmla="*/ 76200 h 292100"/>
                <a:gd name="connsiteX13" fmla="*/ 33867 w 296333"/>
                <a:gd name="connsiteY13" fmla="*/ 55033 h 292100"/>
                <a:gd name="connsiteX14" fmla="*/ 38100 w 296333"/>
                <a:gd name="connsiteY14" fmla="*/ 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6333" h="292100">
                  <a:moveTo>
                    <a:pt x="296333" y="292100"/>
                  </a:moveTo>
                  <a:cubicBezTo>
                    <a:pt x="246944" y="290689"/>
                    <a:pt x="197437" y="291562"/>
                    <a:pt x="148167" y="287867"/>
                  </a:cubicBezTo>
                  <a:cubicBezTo>
                    <a:pt x="140589" y="287299"/>
                    <a:pt x="134372" y="281243"/>
                    <a:pt x="127000" y="279400"/>
                  </a:cubicBezTo>
                  <a:cubicBezTo>
                    <a:pt x="117320" y="276980"/>
                    <a:pt x="107245" y="276578"/>
                    <a:pt x="97367" y="275167"/>
                  </a:cubicBezTo>
                  <a:cubicBezTo>
                    <a:pt x="90311" y="270934"/>
                    <a:pt x="83046" y="267031"/>
                    <a:pt x="76200" y="262467"/>
                  </a:cubicBezTo>
                  <a:cubicBezTo>
                    <a:pt x="70329" y="258553"/>
                    <a:pt x="65393" y="253268"/>
                    <a:pt x="59267" y="249767"/>
                  </a:cubicBezTo>
                  <a:cubicBezTo>
                    <a:pt x="55393" y="247553"/>
                    <a:pt x="50800" y="246944"/>
                    <a:pt x="46567" y="245533"/>
                  </a:cubicBezTo>
                  <a:cubicBezTo>
                    <a:pt x="38100" y="238478"/>
                    <a:pt x="29404" y="231689"/>
                    <a:pt x="21167" y="224367"/>
                  </a:cubicBezTo>
                  <a:cubicBezTo>
                    <a:pt x="16692" y="220390"/>
                    <a:pt x="11144" y="217022"/>
                    <a:pt x="8467" y="211667"/>
                  </a:cubicBezTo>
                  <a:cubicBezTo>
                    <a:pt x="3873" y="202478"/>
                    <a:pt x="2822" y="191911"/>
                    <a:pt x="0" y="182033"/>
                  </a:cubicBezTo>
                  <a:cubicBezTo>
                    <a:pt x="1388" y="173010"/>
                    <a:pt x="6462" y="128781"/>
                    <a:pt x="12700" y="110067"/>
                  </a:cubicBezTo>
                  <a:cubicBezTo>
                    <a:pt x="15103" y="102858"/>
                    <a:pt x="18499" y="96015"/>
                    <a:pt x="21167" y="88900"/>
                  </a:cubicBezTo>
                  <a:cubicBezTo>
                    <a:pt x="22734" y="84722"/>
                    <a:pt x="23833" y="80378"/>
                    <a:pt x="25400" y="76200"/>
                  </a:cubicBezTo>
                  <a:cubicBezTo>
                    <a:pt x="28068" y="69085"/>
                    <a:pt x="31045" y="62089"/>
                    <a:pt x="33867" y="55033"/>
                  </a:cubicBezTo>
                  <a:lnTo>
                    <a:pt x="381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Freeform: Shape 60">
              <a:extLst>
                <a:ext uri="{FF2B5EF4-FFF2-40B4-BE49-F238E27FC236}">
                  <a16:creationId xmlns:a16="http://schemas.microsoft.com/office/drawing/2014/main" id="{099B37E9-1791-B992-A78F-3F140DF0AEF6}"/>
                </a:ext>
              </a:extLst>
            </p:cNvPr>
            <p:cNvSpPr/>
            <p:nvPr/>
          </p:nvSpPr>
          <p:spPr>
            <a:xfrm>
              <a:off x="9944100" y="5528610"/>
              <a:ext cx="270969" cy="296457"/>
            </a:xfrm>
            <a:custGeom>
              <a:avLst/>
              <a:gdLst>
                <a:gd name="connsiteX0" fmla="*/ 0 w 270969"/>
                <a:gd name="connsiteY0" fmla="*/ 38223 h 296457"/>
                <a:gd name="connsiteX1" fmla="*/ 67733 w 270969"/>
                <a:gd name="connsiteY1" fmla="*/ 21290 h 296457"/>
                <a:gd name="connsiteX2" fmla="*/ 93133 w 270969"/>
                <a:gd name="connsiteY2" fmla="*/ 12823 h 296457"/>
                <a:gd name="connsiteX3" fmla="*/ 122767 w 270969"/>
                <a:gd name="connsiteY3" fmla="*/ 8590 h 296457"/>
                <a:gd name="connsiteX4" fmla="*/ 165100 w 270969"/>
                <a:gd name="connsiteY4" fmla="*/ 123 h 296457"/>
                <a:gd name="connsiteX5" fmla="*/ 254000 w 270969"/>
                <a:gd name="connsiteY5" fmla="*/ 25523 h 296457"/>
                <a:gd name="connsiteX6" fmla="*/ 266700 w 270969"/>
                <a:gd name="connsiteY6" fmla="*/ 50923 h 296457"/>
                <a:gd name="connsiteX7" fmla="*/ 270933 w 270969"/>
                <a:gd name="connsiteY7" fmla="*/ 80557 h 296457"/>
                <a:gd name="connsiteX8" fmla="*/ 262467 w 270969"/>
                <a:gd name="connsiteY8" fmla="*/ 152523 h 296457"/>
                <a:gd name="connsiteX9" fmla="*/ 237067 w 270969"/>
                <a:gd name="connsiteY9" fmla="*/ 199090 h 296457"/>
                <a:gd name="connsiteX10" fmla="*/ 220133 w 270969"/>
                <a:gd name="connsiteY10" fmla="*/ 216023 h 296457"/>
                <a:gd name="connsiteX11" fmla="*/ 198967 w 270969"/>
                <a:gd name="connsiteY11" fmla="*/ 228723 h 296457"/>
                <a:gd name="connsiteX12" fmla="*/ 190500 w 270969"/>
                <a:gd name="connsiteY12" fmla="*/ 241423 h 296457"/>
                <a:gd name="connsiteX13" fmla="*/ 165100 w 270969"/>
                <a:gd name="connsiteY13" fmla="*/ 249890 h 296457"/>
                <a:gd name="connsiteX14" fmla="*/ 143933 w 270969"/>
                <a:gd name="connsiteY14" fmla="*/ 262590 h 296457"/>
                <a:gd name="connsiteX15" fmla="*/ 131233 w 270969"/>
                <a:gd name="connsiteY15" fmla="*/ 271057 h 296457"/>
                <a:gd name="connsiteX16" fmla="*/ 93133 w 270969"/>
                <a:gd name="connsiteY16" fmla="*/ 283757 h 296457"/>
                <a:gd name="connsiteX17" fmla="*/ 76200 w 270969"/>
                <a:gd name="connsiteY17" fmla="*/ 296457 h 29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0969" h="296457">
                  <a:moveTo>
                    <a:pt x="0" y="38223"/>
                  </a:moveTo>
                  <a:cubicBezTo>
                    <a:pt x="47758" y="14344"/>
                    <a:pt x="1489" y="33711"/>
                    <a:pt x="67733" y="21290"/>
                  </a:cubicBezTo>
                  <a:cubicBezTo>
                    <a:pt x="76505" y="19645"/>
                    <a:pt x="84437" y="14830"/>
                    <a:pt x="93133" y="12823"/>
                  </a:cubicBezTo>
                  <a:cubicBezTo>
                    <a:pt x="102856" y="10579"/>
                    <a:pt x="112941" y="10324"/>
                    <a:pt x="122767" y="8590"/>
                  </a:cubicBezTo>
                  <a:cubicBezTo>
                    <a:pt x="136939" y="6089"/>
                    <a:pt x="150989" y="2945"/>
                    <a:pt x="165100" y="123"/>
                  </a:cubicBezTo>
                  <a:cubicBezTo>
                    <a:pt x="218717" y="3475"/>
                    <a:pt x="227455" y="-10975"/>
                    <a:pt x="254000" y="25523"/>
                  </a:cubicBezTo>
                  <a:cubicBezTo>
                    <a:pt x="259568" y="33178"/>
                    <a:pt x="262467" y="42456"/>
                    <a:pt x="266700" y="50923"/>
                  </a:cubicBezTo>
                  <a:cubicBezTo>
                    <a:pt x="268111" y="60801"/>
                    <a:pt x="271348" y="70587"/>
                    <a:pt x="270933" y="80557"/>
                  </a:cubicBezTo>
                  <a:cubicBezTo>
                    <a:pt x="269928" y="104690"/>
                    <a:pt x="267393" y="128877"/>
                    <a:pt x="262467" y="152523"/>
                  </a:cubicBezTo>
                  <a:cubicBezTo>
                    <a:pt x="258947" y="169418"/>
                    <a:pt x="248364" y="186180"/>
                    <a:pt x="237067" y="199090"/>
                  </a:cubicBezTo>
                  <a:cubicBezTo>
                    <a:pt x="231810" y="205097"/>
                    <a:pt x="226434" y="211122"/>
                    <a:pt x="220133" y="216023"/>
                  </a:cubicBezTo>
                  <a:cubicBezTo>
                    <a:pt x="213638" y="221074"/>
                    <a:pt x="206022" y="224490"/>
                    <a:pt x="198967" y="228723"/>
                  </a:cubicBezTo>
                  <a:cubicBezTo>
                    <a:pt x="196145" y="232956"/>
                    <a:pt x="194815" y="238726"/>
                    <a:pt x="190500" y="241423"/>
                  </a:cubicBezTo>
                  <a:cubicBezTo>
                    <a:pt x="182932" y="246153"/>
                    <a:pt x="172753" y="245298"/>
                    <a:pt x="165100" y="249890"/>
                  </a:cubicBezTo>
                  <a:cubicBezTo>
                    <a:pt x="158044" y="254123"/>
                    <a:pt x="150911" y="258229"/>
                    <a:pt x="143933" y="262590"/>
                  </a:cubicBezTo>
                  <a:cubicBezTo>
                    <a:pt x="139618" y="265287"/>
                    <a:pt x="135930" y="269100"/>
                    <a:pt x="131233" y="271057"/>
                  </a:cubicBezTo>
                  <a:cubicBezTo>
                    <a:pt x="118876" y="276206"/>
                    <a:pt x="93133" y="283757"/>
                    <a:pt x="93133" y="283757"/>
                  </a:cubicBezTo>
                  <a:lnTo>
                    <a:pt x="76200" y="296457"/>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Freeform: Shape 61">
              <a:extLst>
                <a:ext uri="{FF2B5EF4-FFF2-40B4-BE49-F238E27FC236}">
                  <a16:creationId xmlns:a16="http://schemas.microsoft.com/office/drawing/2014/main" id="{91BD4B0A-6E97-5EEA-F079-E452CD4CF79C}"/>
                </a:ext>
              </a:extLst>
            </p:cNvPr>
            <p:cNvSpPr/>
            <p:nvPr/>
          </p:nvSpPr>
          <p:spPr>
            <a:xfrm>
              <a:off x="10528300" y="5609167"/>
              <a:ext cx="342900" cy="309033"/>
            </a:xfrm>
            <a:custGeom>
              <a:avLst/>
              <a:gdLst>
                <a:gd name="connsiteX0" fmla="*/ 0 w 342900"/>
                <a:gd name="connsiteY0" fmla="*/ 309033 h 309033"/>
                <a:gd name="connsiteX1" fmla="*/ 16933 w 342900"/>
                <a:gd name="connsiteY1" fmla="*/ 287866 h 309033"/>
                <a:gd name="connsiteX2" fmla="*/ 67733 w 342900"/>
                <a:gd name="connsiteY2" fmla="*/ 262466 h 309033"/>
                <a:gd name="connsiteX3" fmla="*/ 131233 w 342900"/>
                <a:gd name="connsiteY3" fmla="*/ 245533 h 309033"/>
                <a:gd name="connsiteX4" fmla="*/ 165100 w 342900"/>
                <a:gd name="connsiteY4" fmla="*/ 232833 h 309033"/>
                <a:gd name="connsiteX5" fmla="*/ 190500 w 342900"/>
                <a:gd name="connsiteY5" fmla="*/ 220133 h 309033"/>
                <a:gd name="connsiteX6" fmla="*/ 232833 w 342900"/>
                <a:gd name="connsiteY6" fmla="*/ 211666 h 309033"/>
                <a:gd name="connsiteX7" fmla="*/ 249767 w 342900"/>
                <a:gd name="connsiteY7" fmla="*/ 207433 h 309033"/>
                <a:gd name="connsiteX8" fmla="*/ 279400 w 342900"/>
                <a:gd name="connsiteY8" fmla="*/ 194733 h 309033"/>
                <a:gd name="connsiteX9" fmla="*/ 292100 w 342900"/>
                <a:gd name="connsiteY9" fmla="*/ 190500 h 309033"/>
                <a:gd name="connsiteX10" fmla="*/ 309033 w 342900"/>
                <a:gd name="connsiteY10" fmla="*/ 177800 h 309033"/>
                <a:gd name="connsiteX11" fmla="*/ 342900 w 342900"/>
                <a:gd name="connsiteY11" fmla="*/ 139700 h 309033"/>
                <a:gd name="connsiteX12" fmla="*/ 334433 w 342900"/>
                <a:gd name="connsiteY12" fmla="*/ 29633 h 309033"/>
                <a:gd name="connsiteX13" fmla="*/ 325967 w 342900"/>
                <a:gd name="connsiteY13" fmla="*/ 0 h 3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309033">
                  <a:moveTo>
                    <a:pt x="0" y="309033"/>
                  </a:moveTo>
                  <a:cubicBezTo>
                    <a:pt x="5644" y="301977"/>
                    <a:pt x="10217" y="293910"/>
                    <a:pt x="16933" y="287866"/>
                  </a:cubicBezTo>
                  <a:cubicBezTo>
                    <a:pt x="40801" y="266385"/>
                    <a:pt x="40536" y="273798"/>
                    <a:pt x="67733" y="262466"/>
                  </a:cubicBezTo>
                  <a:cubicBezTo>
                    <a:pt x="114605" y="242936"/>
                    <a:pt x="70168" y="252317"/>
                    <a:pt x="131233" y="245533"/>
                  </a:cubicBezTo>
                  <a:cubicBezTo>
                    <a:pt x="144457" y="241125"/>
                    <a:pt x="151175" y="239162"/>
                    <a:pt x="165100" y="232833"/>
                  </a:cubicBezTo>
                  <a:cubicBezTo>
                    <a:pt x="173718" y="228916"/>
                    <a:pt x="181465" y="222957"/>
                    <a:pt x="190500" y="220133"/>
                  </a:cubicBezTo>
                  <a:cubicBezTo>
                    <a:pt x="204235" y="215841"/>
                    <a:pt x="218762" y="214681"/>
                    <a:pt x="232833" y="211666"/>
                  </a:cubicBezTo>
                  <a:cubicBezTo>
                    <a:pt x="238522" y="210447"/>
                    <a:pt x="244172" y="209031"/>
                    <a:pt x="249767" y="207433"/>
                  </a:cubicBezTo>
                  <a:cubicBezTo>
                    <a:pt x="269625" y="201760"/>
                    <a:pt x="256820" y="204410"/>
                    <a:pt x="279400" y="194733"/>
                  </a:cubicBezTo>
                  <a:cubicBezTo>
                    <a:pt x="283501" y="192975"/>
                    <a:pt x="287867" y="191911"/>
                    <a:pt x="292100" y="190500"/>
                  </a:cubicBezTo>
                  <a:cubicBezTo>
                    <a:pt x="297744" y="186267"/>
                    <a:pt x="303760" y="182487"/>
                    <a:pt x="309033" y="177800"/>
                  </a:cubicBezTo>
                  <a:cubicBezTo>
                    <a:pt x="328650" y="160363"/>
                    <a:pt x="328837" y="158451"/>
                    <a:pt x="342900" y="139700"/>
                  </a:cubicBezTo>
                  <a:cubicBezTo>
                    <a:pt x="341986" y="124158"/>
                    <a:pt x="339157" y="54830"/>
                    <a:pt x="334433" y="29633"/>
                  </a:cubicBezTo>
                  <a:cubicBezTo>
                    <a:pt x="332540" y="19536"/>
                    <a:pt x="328789" y="9878"/>
                    <a:pt x="32596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Freeform: Shape 62">
              <a:extLst>
                <a:ext uri="{FF2B5EF4-FFF2-40B4-BE49-F238E27FC236}">
                  <a16:creationId xmlns:a16="http://schemas.microsoft.com/office/drawing/2014/main" id="{0ABA28B4-936B-B3DE-DA7C-3FBC6986AE4D}"/>
                </a:ext>
              </a:extLst>
            </p:cNvPr>
            <p:cNvSpPr/>
            <p:nvPr/>
          </p:nvSpPr>
          <p:spPr>
            <a:xfrm>
              <a:off x="9838267" y="4927600"/>
              <a:ext cx="249766" cy="338667"/>
            </a:xfrm>
            <a:custGeom>
              <a:avLst/>
              <a:gdLst>
                <a:gd name="connsiteX0" fmla="*/ 0 w 249766"/>
                <a:gd name="connsiteY0" fmla="*/ 338667 h 338667"/>
                <a:gd name="connsiteX1" fmla="*/ 21166 w 249766"/>
                <a:gd name="connsiteY1" fmla="*/ 317500 h 338667"/>
                <a:gd name="connsiteX2" fmla="*/ 59266 w 249766"/>
                <a:gd name="connsiteY2" fmla="*/ 300567 h 338667"/>
                <a:gd name="connsiteX3" fmla="*/ 88900 w 249766"/>
                <a:gd name="connsiteY3" fmla="*/ 237067 h 338667"/>
                <a:gd name="connsiteX4" fmla="*/ 80433 w 249766"/>
                <a:gd name="connsiteY4" fmla="*/ 207433 h 338667"/>
                <a:gd name="connsiteX5" fmla="*/ 55033 w 249766"/>
                <a:gd name="connsiteY5" fmla="*/ 165100 h 338667"/>
                <a:gd name="connsiteX6" fmla="*/ 93133 w 249766"/>
                <a:gd name="connsiteY6" fmla="*/ 84667 h 338667"/>
                <a:gd name="connsiteX7" fmla="*/ 118533 w 249766"/>
                <a:gd name="connsiteY7" fmla="*/ 67733 h 338667"/>
                <a:gd name="connsiteX8" fmla="*/ 139700 w 249766"/>
                <a:gd name="connsiteY8" fmla="*/ 55033 h 338667"/>
                <a:gd name="connsiteX9" fmla="*/ 169333 w 249766"/>
                <a:gd name="connsiteY9" fmla="*/ 38100 h 338667"/>
                <a:gd name="connsiteX10" fmla="*/ 207433 w 249766"/>
                <a:gd name="connsiteY10" fmla="*/ 21167 h 338667"/>
                <a:gd name="connsiteX11" fmla="*/ 232833 w 249766"/>
                <a:gd name="connsiteY11" fmla="*/ 4233 h 338667"/>
                <a:gd name="connsiteX12" fmla="*/ 249766 w 249766"/>
                <a:gd name="connsiteY12" fmla="*/ 0 h 33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766" h="338667">
                  <a:moveTo>
                    <a:pt x="0" y="338667"/>
                  </a:moveTo>
                  <a:cubicBezTo>
                    <a:pt x="7055" y="331611"/>
                    <a:pt x="12773" y="322896"/>
                    <a:pt x="21166" y="317500"/>
                  </a:cubicBezTo>
                  <a:cubicBezTo>
                    <a:pt x="32856" y="309985"/>
                    <a:pt x="48657" y="309544"/>
                    <a:pt x="59266" y="300567"/>
                  </a:cubicBezTo>
                  <a:cubicBezTo>
                    <a:pt x="70805" y="290804"/>
                    <a:pt x="84262" y="249436"/>
                    <a:pt x="88900" y="237067"/>
                  </a:cubicBezTo>
                  <a:cubicBezTo>
                    <a:pt x="86078" y="227189"/>
                    <a:pt x="83944" y="217088"/>
                    <a:pt x="80433" y="207433"/>
                  </a:cubicBezTo>
                  <a:cubicBezTo>
                    <a:pt x="75227" y="193117"/>
                    <a:pt x="62870" y="176856"/>
                    <a:pt x="55033" y="165100"/>
                  </a:cubicBezTo>
                  <a:cubicBezTo>
                    <a:pt x="67733" y="138289"/>
                    <a:pt x="76927" y="109516"/>
                    <a:pt x="93133" y="84667"/>
                  </a:cubicBezTo>
                  <a:cubicBezTo>
                    <a:pt x="98692" y="76144"/>
                    <a:pt x="109948" y="73196"/>
                    <a:pt x="118533" y="67733"/>
                  </a:cubicBezTo>
                  <a:cubicBezTo>
                    <a:pt x="125475" y="63315"/>
                    <a:pt x="132854" y="59597"/>
                    <a:pt x="139700" y="55033"/>
                  </a:cubicBezTo>
                  <a:cubicBezTo>
                    <a:pt x="165329" y="37947"/>
                    <a:pt x="146697" y="45645"/>
                    <a:pt x="169333" y="38100"/>
                  </a:cubicBezTo>
                  <a:cubicBezTo>
                    <a:pt x="206691" y="13194"/>
                    <a:pt x="146979" y="51394"/>
                    <a:pt x="207433" y="21167"/>
                  </a:cubicBezTo>
                  <a:cubicBezTo>
                    <a:pt x="216535" y="16616"/>
                    <a:pt x="223732" y="8784"/>
                    <a:pt x="232833" y="4233"/>
                  </a:cubicBezTo>
                  <a:cubicBezTo>
                    <a:pt x="238037" y="1631"/>
                    <a:pt x="249766" y="0"/>
                    <a:pt x="249766"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Freeform: Shape 63">
              <a:extLst>
                <a:ext uri="{FF2B5EF4-FFF2-40B4-BE49-F238E27FC236}">
                  <a16:creationId xmlns:a16="http://schemas.microsoft.com/office/drawing/2014/main" id="{5112964D-6AF5-C6B2-CFA1-86E5F445F075}"/>
                </a:ext>
              </a:extLst>
            </p:cNvPr>
            <p:cNvSpPr/>
            <p:nvPr/>
          </p:nvSpPr>
          <p:spPr>
            <a:xfrm>
              <a:off x="10147300" y="5067289"/>
              <a:ext cx="296333" cy="279411"/>
            </a:xfrm>
            <a:custGeom>
              <a:avLst/>
              <a:gdLst>
                <a:gd name="connsiteX0" fmla="*/ 296333 w 296333"/>
                <a:gd name="connsiteY0" fmla="*/ 279411 h 279411"/>
                <a:gd name="connsiteX1" fmla="*/ 46567 w 296333"/>
                <a:gd name="connsiteY1" fmla="*/ 262478 h 279411"/>
                <a:gd name="connsiteX2" fmla="*/ 25400 w 296333"/>
                <a:gd name="connsiteY2" fmla="*/ 254011 h 279411"/>
                <a:gd name="connsiteX3" fmla="*/ 12700 w 296333"/>
                <a:gd name="connsiteY3" fmla="*/ 249778 h 279411"/>
                <a:gd name="connsiteX4" fmla="*/ 0 w 296333"/>
                <a:gd name="connsiteY4" fmla="*/ 224378 h 279411"/>
                <a:gd name="connsiteX5" fmla="*/ 12700 w 296333"/>
                <a:gd name="connsiteY5" fmla="*/ 156644 h 279411"/>
                <a:gd name="connsiteX6" fmla="*/ 59267 w 296333"/>
                <a:gd name="connsiteY6" fmla="*/ 80444 h 279411"/>
                <a:gd name="connsiteX7" fmla="*/ 84667 w 296333"/>
                <a:gd name="connsiteY7" fmla="*/ 55044 h 279411"/>
                <a:gd name="connsiteX8" fmla="*/ 118533 w 296333"/>
                <a:gd name="connsiteY8" fmla="*/ 21178 h 279411"/>
                <a:gd name="connsiteX9" fmla="*/ 135467 w 296333"/>
                <a:gd name="connsiteY9" fmla="*/ 11 h 27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333" h="279411">
                  <a:moveTo>
                    <a:pt x="296333" y="279411"/>
                  </a:moveTo>
                  <a:cubicBezTo>
                    <a:pt x="80409" y="265629"/>
                    <a:pt x="163594" y="272230"/>
                    <a:pt x="46567" y="262478"/>
                  </a:cubicBezTo>
                  <a:cubicBezTo>
                    <a:pt x="39511" y="259656"/>
                    <a:pt x="32515" y="256679"/>
                    <a:pt x="25400" y="254011"/>
                  </a:cubicBezTo>
                  <a:cubicBezTo>
                    <a:pt x="21222" y="252444"/>
                    <a:pt x="15604" y="253166"/>
                    <a:pt x="12700" y="249778"/>
                  </a:cubicBezTo>
                  <a:cubicBezTo>
                    <a:pt x="6540" y="242591"/>
                    <a:pt x="4233" y="232845"/>
                    <a:pt x="0" y="224378"/>
                  </a:cubicBezTo>
                  <a:cubicBezTo>
                    <a:pt x="4233" y="201800"/>
                    <a:pt x="5944" y="178600"/>
                    <a:pt x="12700" y="156644"/>
                  </a:cubicBezTo>
                  <a:cubicBezTo>
                    <a:pt x="20572" y="131060"/>
                    <a:pt x="41937" y="100662"/>
                    <a:pt x="59267" y="80444"/>
                  </a:cubicBezTo>
                  <a:cubicBezTo>
                    <a:pt x="67059" y="71353"/>
                    <a:pt x="76613" y="63904"/>
                    <a:pt x="84667" y="55044"/>
                  </a:cubicBezTo>
                  <a:cubicBezTo>
                    <a:pt x="115154" y="21509"/>
                    <a:pt x="87230" y="44656"/>
                    <a:pt x="118533" y="21178"/>
                  </a:cubicBezTo>
                  <a:cubicBezTo>
                    <a:pt x="131959" y="-1199"/>
                    <a:pt x="123005" y="11"/>
                    <a:pt x="135467" y="11"/>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Freeform: Shape 64">
              <a:extLst>
                <a:ext uri="{FF2B5EF4-FFF2-40B4-BE49-F238E27FC236}">
                  <a16:creationId xmlns:a16="http://schemas.microsoft.com/office/drawing/2014/main" id="{0C5BF06F-25B4-3697-2A62-35951262AC1E}"/>
                </a:ext>
              </a:extLst>
            </p:cNvPr>
            <p:cNvSpPr/>
            <p:nvPr/>
          </p:nvSpPr>
          <p:spPr>
            <a:xfrm>
              <a:off x="10371667" y="5084233"/>
              <a:ext cx="376766" cy="143934"/>
            </a:xfrm>
            <a:custGeom>
              <a:avLst/>
              <a:gdLst>
                <a:gd name="connsiteX0" fmla="*/ 376766 w 376766"/>
                <a:gd name="connsiteY0" fmla="*/ 143934 h 143934"/>
                <a:gd name="connsiteX1" fmla="*/ 330200 w 376766"/>
                <a:gd name="connsiteY1" fmla="*/ 131234 h 143934"/>
                <a:gd name="connsiteX2" fmla="*/ 313266 w 376766"/>
                <a:gd name="connsiteY2" fmla="*/ 122767 h 143934"/>
                <a:gd name="connsiteX3" fmla="*/ 292100 w 376766"/>
                <a:gd name="connsiteY3" fmla="*/ 118534 h 143934"/>
                <a:gd name="connsiteX4" fmla="*/ 258233 w 376766"/>
                <a:gd name="connsiteY4" fmla="*/ 105834 h 143934"/>
                <a:gd name="connsiteX5" fmla="*/ 169333 w 376766"/>
                <a:gd name="connsiteY5" fmla="*/ 76200 h 143934"/>
                <a:gd name="connsiteX6" fmla="*/ 122766 w 376766"/>
                <a:gd name="connsiteY6" fmla="*/ 50800 h 143934"/>
                <a:gd name="connsiteX7" fmla="*/ 110066 w 376766"/>
                <a:gd name="connsiteY7" fmla="*/ 38100 h 143934"/>
                <a:gd name="connsiteX8" fmla="*/ 84666 w 376766"/>
                <a:gd name="connsiteY8" fmla="*/ 29634 h 143934"/>
                <a:gd name="connsiteX9" fmla="*/ 25400 w 376766"/>
                <a:gd name="connsiteY9" fmla="*/ 12700 h 143934"/>
                <a:gd name="connsiteX10" fmla="*/ 12700 w 376766"/>
                <a:gd name="connsiteY10" fmla="*/ 4234 h 143934"/>
                <a:gd name="connsiteX11" fmla="*/ 0 w 376766"/>
                <a:gd name="connsiteY11" fmla="*/ 0 h 14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6766" h="143934">
                  <a:moveTo>
                    <a:pt x="376766" y="143934"/>
                  </a:moveTo>
                  <a:cubicBezTo>
                    <a:pt x="308811" y="116750"/>
                    <a:pt x="406944" y="154257"/>
                    <a:pt x="330200" y="131234"/>
                  </a:cubicBezTo>
                  <a:cubicBezTo>
                    <a:pt x="324155" y="129421"/>
                    <a:pt x="319253" y="124763"/>
                    <a:pt x="313266" y="122767"/>
                  </a:cubicBezTo>
                  <a:cubicBezTo>
                    <a:pt x="306440" y="120492"/>
                    <a:pt x="298977" y="120650"/>
                    <a:pt x="292100" y="118534"/>
                  </a:cubicBezTo>
                  <a:cubicBezTo>
                    <a:pt x="280577" y="114988"/>
                    <a:pt x="269631" y="109764"/>
                    <a:pt x="258233" y="105834"/>
                  </a:cubicBezTo>
                  <a:cubicBezTo>
                    <a:pt x="228703" y="95651"/>
                    <a:pt x="169333" y="76200"/>
                    <a:pt x="169333" y="76200"/>
                  </a:cubicBezTo>
                  <a:cubicBezTo>
                    <a:pt x="116707" y="36730"/>
                    <a:pt x="200157" y="97234"/>
                    <a:pt x="122766" y="50800"/>
                  </a:cubicBezTo>
                  <a:cubicBezTo>
                    <a:pt x="117632" y="47720"/>
                    <a:pt x="115299" y="41007"/>
                    <a:pt x="110066" y="38100"/>
                  </a:cubicBezTo>
                  <a:cubicBezTo>
                    <a:pt x="102264" y="33766"/>
                    <a:pt x="92904" y="33066"/>
                    <a:pt x="84666" y="29634"/>
                  </a:cubicBezTo>
                  <a:cubicBezTo>
                    <a:pt x="38923" y="10575"/>
                    <a:pt x="80878" y="19636"/>
                    <a:pt x="25400" y="12700"/>
                  </a:cubicBezTo>
                  <a:cubicBezTo>
                    <a:pt x="21167" y="9878"/>
                    <a:pt x="17251" y="6509"/>
                    <a:pt x="12700" y="4234"/>
                  </a:cubicBezTo>
                  <a:cubicBezTo>
                    <a:pt x="8709" y="2238"/>
                    <a:pt x="0" y="0"/>
                    <a:pt x="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Freeform: Shape 65">
              <a:extLst>
                <a:ext uri="{FF2B5EF4-FFF2-40B4-BE49-F238E27FC236}">
                  <a16:creationId xmlns:a16="http://schemas.microsoft.com/office/drawing/2014/main" id="{F51FC75C-CD69-39BE-9C61-9C82EC62B517}"/>
                </a:ext>
              </a:extLst>
            </p:cNvPr>
            <p:cNvSpPr/>
            <p:nvPr/>
          </p:nvSpPr>
          <p:spPr>
            <a:xfrm>
              <a:off x="10295467" y="5537200"/>
              <a:ext cx="495300" cy="126474"/>
            </a:xfrm>
            <a:custGeom>
              <a:avLst/>
              <a:gdLst>
                <a:gd name="connsiteX0" fmla="*/ 495300 w 495300"/>
                <a:gd name="connsiteY0" fmla="*/ 0 h 126474"/>
                <a:gd name="connsiteX1" fmla="*/ 220133 w 495300"/>
                <a:gd name="connsiteY1" fmla="*/ 38100 h 126474"/>
                <a:gd name="connsiteX2" fmla="*/ 203200 w 495300"/>
                <a:gd name="connsiteY2" fmla="*/ 46567 h 126474"/>
                <a:gd name="connsiteX3" fmla="*/ 186266 w 495300"/>
                <a:gd name="connsiteY3" fmla="*/ 67733 h 126474"/>
                <a:gd name="connsiteX4" fmla="*/ 177800 w 495300"/>
                <a:gd name="connsiteY4" fmla="*/ 80433 h 126474"/>
                <a:gd name="connsiteX5" fmla="*/ 160866 w 495300"/>
                <a:gd name="connsiteY5" fmla="*/ 84667 h 126474"/>
                <a:gd name="connsiteX6" fmla="*/ 127000 w 495300"/>
                <a:gd name="connsiteY6" fmla="*/ 105833 h 126474"/>
                <a:gd name="connsiteX7" fmla="*/ 80433 w 495300"/>
                <a:gd name="connsiteY7" fmla="*/ 114300 h 126474"/>
                <a:gd name="connsiteX8" fmla="*/ 0 w 495300"/>
                <a:gd name="connsiteY8" fmla="*/ 122767 h 12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300" h="126474">
                  <a:moveTo>
                    <a:pt x="495300" y="0"/>
                  </a:moveTo>
                  <a:cubicBezTo>
                    <a:pt x="190451" y="21392"/>
                    <a:pt x="330675" y="-26384"/>
                    <a:pt x="220133" y="38100"/>
                  </a:cubicBezTo>
                  <a:cubicBezTo>
                    <a:pt x="214682" y="41280"/>
                    <a:pt x="208844" y="43745"/>
                    <a:pt x="203200" y="46567"/>
                  </a:cubicBezTo>
                  <a:cubicBezTo>
                    <a:pt x="197555" y="53622"/>
                    <a:pt x="191687" y="60505"/>
                    <a:pt x="186266" y="67733"/>
                  </a:cubicBezTo>
                  <a:cubicBezTo>
                    <a:pt x="183213" y="71803"/>
                    <a:pt x="182033" y="77611"/>
                    <a:pt x="177800" y="80433"/>
                  </a:cubicBezTo>
                  <a:cubicBezTo>
                    <a:pt x="172959" y="83661"/>
                    <a:pt x="166511" y="83256"/>
                    <a:pt x="160866" y="84667"/>
                  </a:cubicBezTo>
                  <a:cubicBezTo>
                    <a:pt x="149278" y="93359"/>
                    <a:pt x="140948" y="101184"/>
                    <a:pt x="127000" y="105833"/>
                  </a:cubicBezTo>
                  <a:cubicBezTo>
                    <a:pt x="121076" y="107808"/>
                    <a:pt x="84706" y="113588"/>
                    <a:pt x="80433" y="114300"/>
                  </a:cubicBezTo>
                  <a:cubicBezTo>
                    <a:pt x="48947" y="135291"/>
                    <a:pt x="72821" y="122767"/>
                    <a:pt x="0" y="122767"/>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Freeform: Shape 66">
              <a:extLst>
                <a:ext uri="{FF2B5EF4-FFF2-40B4-BE49-F238E27FC236}">
                  <a16:creationId xmlns:a16="http://schemas.microsoft.com/office/drawing/2014/main" id="{EB4BAA59-FC56-0661-61D0-D0A2192B602D}"/>
                </a:ext>
              </a:extLst>
            </p:cNvPr>
            <p:cNvSpPr/>
            <p:nvPr/>
          </p:nvSpPr>
          <p:spPr>
            <a:xfrm>
              <a:off x="10870130" y="5452533"/>
              <a:ext cx="284703" cy="224367"/>
            </a:xfrm>
            <a:custGeom>
              <a:avLst/>
              <a:gdLst>
                <a:gd name="connsiteX0" fmla="*/ 284703 w 284703"/>
                <a:gd name="connsiteY0" fmla="*/ 215900 h 224367"/>
                <a:gd name="connsiteX1" fmla="*/ 259303 w 284703"/>
                <a:gd name="connsiteY1" fmla="*/ 220134 h 224367"/>
                <a:gd name="connsiteX2" fmla="*/ 246603 w 284703"/>
                <a:gd name="connsiteY2" fmla="*/ 224367 h 224367"/>
                <a:gd name="connsiteX3" fmla="*/ 128070 w 284703"/>
                <a:gd name="connsiteY3" fmla="*/ 220134 h 224367"/>
                <a:gd name="connsiteX4" fmla="*/ 111137 w 284703"/>
                <a:gd name="connsiteY4" fmla="*/ 215900 h 224367"/>
                <a:gd name="connsiteX5" fmla="*/ 94203 w 284703"/>
                <a:gd name="connsiteY5" fmla="*/ 207434 h 224367"/>
                <a:gd name="connsiteX6" fmla="*/ 81503 w 284703"/>
                <a:gd name="connsiteY6" fmla="*/ 203200 h 224367"/>
                <a:gd name="connsiteX7" fmla="*/ 51870 w 284703"/>
                <a:gd name="connsiteY7" fmla="*/ 173567 h 224367"/>
                <a:gd name="connsiteX8" fmla="*/ 18003 w 284703"/>
                <a:gd name="connsiteY8" fmla="*/ 118534 h 224367"/>
                <a:gd name="connsiteX9" fmla="*/ 9537 w 284703"/>
                <a:gd name="connsiteY9" fmla="*/ 88900 h 224367"/>
                <a:gd name="connsiteX10" fmla="*/ 1070 w 284703"/>
                <a:gd name="connsiteY10" fmla="*/ 76200 h 224367"/>
                <a:gd name="connsiteX11" fmla="*/ 1070 w 284703"/>
                <a:gd name="connsiteY11" fmla="*/ 0 h 22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4703" h="224367">
                  <a:moveTo>
                    <a:pt x="284703" y="215900"/>
                  </a:moveTo>
                  <a:cubicBezTo>
                    <a:pt x="276236" y="217311"/>
                    <a:pt x="267682" y="218272"/>
                    <a:pt x="259303" y="220134"/>
                  </a:cubicBezTo>
                  <a:cubicBezTo>
                    <a:pt x="254947" y="221102"/>
                    <a:pt x="251065" y="224367"/>
                    <a:pt x="246603" y="224367"/>
                  </a:cubicBezTo>
                  <a:cubicBezTo>
                    <a:pt x="207067" y="224367"/>
                    <a:pt x="167581" y="221545"/>
                    <a:pt x="128070" y="220134"/>
                  </a:cubicBezTo>
                  <a:cubicBezTo>
                    <a:pt x="122426" y="218723"/>
                    <a:pt x="116585" y="217943"/>
                    <a:pt x="111137" y="215900"/>
                  </a:cubicBezTo>
                  <a:cubicBezTo>
                    <a:pt x="105228" y="213684"/>
                    <a:pt x="100004" y="209920"/>
                    <a:pt x="94203" y="207434"/>
                  </a:cubicBezTo>
                  <a:cubicBezTo>
                    <a:pt x="90101" y="205676"/>
                    <a:pt x="85736" y="204611"/>
                    <a:pt x="81503" y="203200"/>
                  </a:cubicBezTo>
                  <a:cubicBezTo>
                    <a:pt x="71625" y="193322"/>
                    <a:pt x="58117" y="186061"/>
                    <a:pt x="51870" y="173567"/>
                  </a:cubicBezTo>
                  <a:cubicBezTo>
                    <a:pt x="28026" y="125879"/>
                    <a:pt x="41859" y="142390"/>
                    <a:pt x="18003" y="118534"/>
                  </a:cubicBezTo>
                  <a:cubicBezTo>
                    <a:pt x="15181" y="108656"/>
                    <a:pt x="13352" y="98438"/>
                    <a:pt x="9537" y="88900"/>
                  </a:cubicBezTo>
                  <a:cubicBezTo>
                    <a:pt x="7647" y="84176"/>
                    <a:pt x="1552" y="81265"/>
                    <a:pt x="1070" y="76200"/>
                  </a:cubicBezTo>
                  <a:cubicBezTo>
                    <a:pt x="-1338" y="50914"/>
                    <a:pt x="1070" y="25400"/>
                    <a:pt x="107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Freeform: Shape 67">
              <a:extLst>
                <a:ext uri="{FF2B5EF4-FFF2-40B4-BE49-F238E27FC236}">
                  <a16:creationId xmlns:a16="http://schemas.microsoft.com/office/drawing/2014/main" id="{069D8F68-E365-BEBC-6DFE-7FEB6744B0DB}"/>
                </a:ext>
              </a:extLst>
            </p:cNvPr>
            <p:cNvSpPr/>
            <p:nvPr/>
          </p:nvSpPr>
          <p:spPr>
            <a:xfrm>
              <a:off x="9986433" y="5753100"/>
              <a:ext cx="279400" cy="300567"/>
            </a:xfrm>
            <a:custGeom>
              <a:avLst/>
              <a:gdLst>
                <a:gd name="connsiteX0" fmla="*/ 0 w 279400"/>
                <a:gd name="connsiteY0" fmla="*/ 300567 h 300567"/>
                <a:gd name="connsiteX1" fmla="*/ 122767 w 279400"/>
                <a:gd name="connsiteY1" fmla="*/ 292100 h 300567"/>
                <a:gd name="connsiteX2" fmla="*/ 152400 w 279400"/>
                <a:gd name="connsiteY2" fmla="*/ 283633 h 300567"/>
                <a:gd name="connsiteX3" fmla="*/ 177800 w 279400"/>
                <a:gd name="connsiteY3" fmla="*/ 279400 h 300567"/>
                <a:gd name="connsiteX4" fmla="*/ 232834 w 279400"/>
                <a:gd name="connsiteY4" fmla="*/ 254000 h 300567"/>
                <a:gd name="connsiteX5" fmla="*/ 245534 w 279400"/>
                <a:gd name="connsiteY5" fmla="*/ 249767 h 300567"/>
                <a:gd name="connsiteX6" fmla="*/ 241300 w 279400"/>
                <a:gd name="connsiteY6" fmla="*/ 182033 h 300567"/>
                <a:gd name="connsiteX7" fmla="*/ 245534 w 279400"/>
                <a:gd name="connsiteY7" fmla="*/ 76200 h 300567"/>
                <a:gd name="connsiteX8" fmla="*/ 279400 w 279400"/>
                <a:gd name="connsiteY8" fmla="*/ 0 h 30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00" h="300567">
                  <a:moveTo>
                    <a:pt x="0" y="300567"/>
                  </a:moveTo>
                  <a:cubicBezTo>
                    <a:pt x="40922" y="297745"/>
                    <a:pt x="81998" y="296630"/>
                    <a:pt x="122767" y="292100"/>
                  </a:cubicBezTo>
                  <a:cubicBezTo>
                    <a:pt x="132977" y="290965"/>
                    <a:pt x="142390" y="285943"/>
                    <a:pt x="152400" y="283633"/>
                  </a:cubicBezTo>
                  <a:cubicBezTo>
                    <a:pt x="160764" y="281703"/>
                    <a:pt x="169333" y="280811"/>
                    <a:pt x="177800" y="279400"/>
                  </a:cubicBezTo>
                  <a:cubicBezTo>
                    <a:pt x="203165" y="266718"/>
                    <a:pt x="205452" y="264952"/>
                    <a:pt x="232834" y="254000"/>
                  </a:cubicBezTo>
                  <a:cubicBezTo>
                    <a:pt x="236977" y="252343"/>
                    <a:pt x="241301" y="251178"/>
                    <a:pt x="245534" y="249767"/>
                  </a:cubicBezTo>
                  <a:cubicBezTo>
                    <a:pt x="244123" y="227189"/>
                    <a:pt x="243551" y="204543"/>
                    <a:pt x="241300" y="182033"/>
                  </a:cubicBezTo>
                  <a:cubicBezTo>
                    <a:pt x="235628" y="125312"/>
                    <a:pt x="206943" y="226707"/>
                    <a:pt x="245534" y="76200"/>
                  </a:cubicBezTo>
                  <a:cubicBezTo>
                    <a:pt x="252438" y="49275"/>
                    <a:pt x="279400" y="0"/>
                    <a:pt x="27940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Freeform: Shape 68">
              <a:extLst>
                <a:ext uri="{FF2B5EF4-FFF2-40B4-BE49-F238E27FC236}">
                  <a16:creationId xmlns:a16="http://schemas.microsoft.com/office/drawing/2014/main" id="{521DAFED-AF0B-9E6B-3C7E-BF1D087B563A}"/>
                </a:ext>
              </a:extLst>
            </p:cNvPr>
            <p:cNvSpPr/>
            <p:nvPr/>
          </p:nvSpPr>
          <p:spPr>
            <a:xfrm>
              <a:off x="10469033" y="5643033"/>
              <a:ext cx="98867" cy="283634"/>
            </a:xfrm>
            <a:custGeom>
              <a:avLst/>
              <a:gdLst>
                <a:gd name="connsiteX0" fmla="*/ 0 w 98867"/>
                <a:gd name="connsiteY0" fmla="*/ 283634 h 283634"/>
                <a:gd name="connsiteX1" fmla="*/ 71967 w 98867"/>
                <a:gd name="connsiteY1" fmla="*/ 207434 h 283634"/>
                <a:gd name="connsiteX2" fmla="*/ 84667 w 98867"/>
                <a:gd name="connsiteY2" fmla="*/ 169334 h 283634"/>
                <a:gd name="connsiteX3" fmla="*/ 97367 w 98867"/>
                <a:gd name="connsiteY3" fmla="*/ 135467 h 283634"/>
                <a:gd name="connsiteX4" fmla="*/ 97367 w 98867"/>
                <a:gd name="connsiteY4" fmla="*/ 0 h 283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67" h="283634">
                  <a:moveTo>
                    <a:pt x="0" y="283634"/>
                  </a:moveTo>
                  <a:cubicBezTo>
                    <a:pt x="56680" y="217507"/>
                    <a:pt x="30482" y="240621"/>
                    <a:pt x="71967" y="207434"/>
                  </a:cubicBezTo>
                  <a:cubicBezTo>
                    <a:pt x="90370" y="170628"/>
                    <a:pt x="71537" y="212007"/>
                    <a:pt x="84667" y="169334"/>
                  </a:cubicBezTo>
                  <a:cubicBezTo>
                    <a:pt x="88213" y="157811"/>
                    <a:pt x="96465" y="147490"/>
                    <a:pt x="97367" y="135467"/>
                  </a:cubicBezTo>
                  <a:cubicBezTo>
                    <a:pt x="100744" y="90438"/>
                    <a:pt x="97367" y="45156"/>
                    <a:pt x="9736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Freeform: Shape 69">
              <a:extLst>
                <a:ext uri="{FF2B5EF4-FFF2-40B4-BE49-F238E27FC236}">
                  <a16:creationId xmlns:a16="http://schemas.microsoft.com/office/drawing/2014/main" id="{93F6E703-AC9A-622F-FA1C-6E40F65341BB}"/>
                </a:ext>
              </a:extLst>
            </p:cNvPr>
            <p:cNvSpPr/>
            <p:nvPr/>
          </p:nvSpPr>
          <p:spPr>
            <a:xfrm>
              <a:off x="10507133" y="5245100"/>
              <a:ext cx="55034" cy="232833"/>
            </a:xfrm>
            <a:custGeom>
              <a:avLst/>
              <a:gdLst>
                <a:gd name="connsiteX0" fmla="*/ 29634 w 55034"/>
                <a:gd name="connsiteY0" fmla="*/ 232833 h 232833"/>
                <a:gd name="connsiteX1" fmla="*/ 38100 w 55034"/>
                <a:gd name="connsiteY1" fmla="*/ 131233 h 232833"/>
                <a:gd name="connsiteX2" fmla="*/ 50800 w 55034"/>
                <a:gd name="connsiteY2" fmla="*/ 110067 h 232833"/>
                <a:gd name="connsiteX3" fmla="*/ 55034 w 55034"/>
                <a:gd name="connsiteY3" fmla="*/ 88900 h 232833"/>
                <a:gd name="connsiteX4" fmla="*/ 33867 w 55034"/>
                <a:gd name="connsiteY4" fmla="*/ 67733 h 232833"/>
                <a:gd name="connsiteX5" fmla="*/ 29634 w 55034"/>
                <a:gd name="connsiteY5" fmla="*/ 46567 h 232833"/>
                <a:gd name="connsiteX6" fmla="*/ 8467 w 55034"/>
                <a:gd name="connsiteY6" fmla="*/ 21167 h 232833"/>
                <a:gd name="connsiteX7" fmla="*/ 0 w 55034"/>
                <a:gd name="connsiteY7" fmla="*/ 0 h 23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34" h="232833">
                  <a:moveTo>
                    <a:pt x="29634" y="232833"/>
                  </a:moveTo>
                  <a:cubicBezTo>
                    <a:pt x="32456" y="198966"/>
                    <a:pt x="32326" y="164723"/>
                    <a:pt x="38100" y="131233"/>
                  </a:cubicBezTo>
                  <a:cubicBezTo>
                    <a:pt x="39498" y="123125"/>
                    <a:pt x="47744" y="117706"/>
                    <a:pt x="50800" y="110067"/>
                  </a:cubicBezTo>
                  <a:cubicBezTo>
                    <a:pt x="53472" y="103386"/>
                    <a:pt x="53623" y="95956"/>
                    <a:pt x="55034" y="88900"/>
                  </a:cubicBezTo>
                  <a:cubicBezTo>
                    <a:pt x="47978" y="81844"/>
                    <a:pt x="39001" y="76289"/>
                    <a:pt x="33867" y="67733"/>
                  </a:cubicBezTo>
                  <a:cubicBezTo>
                    <a:pt x="30165" y="61563"/>
                    <a:pt x="32160" y="53304"/>
                    <a:pt x="29634" y="46567"/>
                  </a:cubicBezTo>
                  <a:cubicBezTo>
                    <a:pt x="26098" y="37138"/>
                    <a:pt x="15055" y="27755"/>
                    <a:pt x="8467" y="21167"/>
                  </a:cubicBezTo>
                  <a:cubicBezTo>
                    <a:pt x="3236" y="5473"/>
                    <a:pt x="6230" y="12458"/>
                    <a:pt x="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2" name="TextBox 71">
            <a:extLst>
              <a:ext uri="{FF2B5EF4-FFF2-40B4-BE49-F238E27FC236}">
                <a16:creationId xmlns:a16="http://schemas.microsoft.com/office/drawing/2014/main" id="{440AFB0F-301D-0ADC-914B-E5228CD281EA}"/>
              </a:ext>
            </a:extLst>
          </p:cNvPr>
          <p:cNvSpPr txBox="1"/>
          <p:nvPr/>
        </p:nvSpPr>
        <p:spPr>
          <a:xfrm>
            <a:off x="10171823" y="2264078"/>
            <a:ext cx="1817577" cy="523220"/>
          </a:xfrm>
          <a:prstGeom prst="rect">
            <a:avLst/>
          </a:prstGeom>
          <a:noFill/>
        </p:spPr>
        <p:txBody>
          <a:bodyPr wrap="square" rtlCol="0">
            <a:spAutoFit/>
          </a:bodyPr>
          <a:lstStyle/>
          <a:p>
            <a:r>
              <a:rPr lang="en-GB" sz="1400">
                <a:latin typeface="Arial" panose="020B0604020202020204" pitchFamily="34" charset="0"/>
                <a:cs typeface="Arial" panose="020B0604020202020204" pitchFamily="34" charset="0"/>
              </a:rPr>
              <a:t>Egg white – proteins suspended in water</a:t>
            </a:r>
          </a:p>
        </p:txBody>
      </p:sp>
      <p:sp>
        <p:nvSpPr>
          <p:cNvPr id="73" name="TextBox 72">
            <a:extLst>
              <a:ext uri="{FF2B5EF4-FFF2-40B4-BE49-F238E27FC236}">
                <a16:creationId xmlns:a16="http://schemas.microsoft.com/office/drawing/2014/main" id="{C4231D9E-A013-2C18-3739-E5BA2CA03D5F}"/>
              </a:ext>
            </a:extLst>
          </p:cNvPr>
          <p:cNvSpPr txBox="1"/>
          <p:nvPr/>
        </p:nvSpPr>
        <p:spPr>
          <a:xfrm>
            <a:off x="10168139" y="3571725"/>
            <a:ext cx="1817577" cy="738664"/>
          </a:xfrm>
          <a:prstGeom prst="rect">
            <a:avLst/>
          </a:prstGeom>
          <a:noFill/>
        </p:spPr>
        <p:txBody>
          <a:bodyPr wrap="square" rtlCol="0">
            <a:spAutoFit/>
          </a:bodyPr>
          <a:lstStyle/>
          <a:p>
            <a:r>
              <a:rPr lang="en-GB" sz="1400">
                <a:latin typeface="Arial" panose="020B0604020202020204" pitchFamily="34" charset="0"/>
                <a:cs typeface="Arial" panose="020B0604020202020204" pitchFamily="34" charset="0"/>
              </a:rPr>
              <a:t>Beating forms air bubbles (white) and proteins unfold</a:t>
            </a:r>
          </a:p>
        </p:txBody>
      </p:sp>
      <p:sp>
        <p:nvSpPr>
          <p:cNvPr id="74" name="TextBox 73">
            <a:extLst>
              <a:ext uri="{FF2B5EF4-FFF2-40B4-BE49-F238E27FC236}">
                <a16:creationId xmlns:a16="http://schemas.microsoft.com/office/drawing/2014/main" id="{09D01021-1BDB-38F4-8FE9-1EEB1480A260}"/>
              </a:ext>
            </a:extLst>
          </p:cNvPr>
          <p:cNvSpPr txBox="1"/>
          <p:nvPr/>
        </p:nvSpPr>
        <p:spPr>
          <a:xfrm>
            <a:off x="10161643" y="4680059"/>
            <a:ext cx="1846172" cy="1815882"/>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rPr>
              <a:t>Air bubbles become smaller, hydrophilic areas of proteins point towards air bubbles, hydrophobic areas to water. This stabilises the foam.</a:t>
            </a:r>
          </a:p>
        </p:txBody>
      </p:sp>
    </p:spTree>
    <p:extLst>
      <p:ext uri="{BB962C8B-B14F-4D97-AF65-F5344CB8AC3E}">
        <p14:creationId xmlns:p14="http://schemas.microsoft.com/office/powerpoint/2010/main" val="1429771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7BA1A-98C2-7F73-26A0-D2674D4F4F16}"/>
              </a:ext>
            </a:extLst>
          </p:cNvPr>
          <p:cNvSpPr>
            <a:spLocks noGrp="1"/>
          </p:cNvSpPr>
          <p:nvPr>
            <p:ph type="ctrTitle"/>
          </p:nvPr>
        </p:nvSpPr>
        <p:spPr/>
        <p:txBody>
          <a:bodyPr/>
          <a:lstStyle/>
          <a:p>
            <a:r>
              <a:rPr lang="en-GB"/>
              <a:t>Making and stabilising foams</a:t>
            </a:r>
          </a:p>
        </p:txBody>
      </p:sp>
      <p:sp>
        <p:nvSpPr>
          <p:cNvPr id="3" name="Subtitle 2">
            <a:extLst>
              <a:ext uri="{FF2B5EF4-FFF2-40B4-BE49-F238E27FC236}">
                <a16:creationId xmlns:a16="http://schemas.microsoft.com/office/drawing/2014/main" id="{C922ACA1-27C4-193C-66AA-F3C7038A04A3}"/>
              </a:ext>
            </a:extLst>
          </p:cNvPr>
          <p:cNvSpPr>
            <a:spLocks noGrp="1"/>
          </p:cNvSpPr>
          <p:nvPr>
            <p:ph type="subTitle" idx="1"/>
          </p:nvPr>
        </p:nvSpPr>
        <p:spPr>
          <a:xfrm>
            <a:off x="1169276" y="2571092"/>
            <a:ext cx="6900526" cy="3600000"/>
          </a:xfrm>
        </p:spPr>
        <p:txBody>
          <a:bodyPr/>
          <a:lstStyle/>
          <a:p>
            <a:pPr marL="0" indent="0">
              <a:buNone/>
            </a:pPr>
            <a:r>
              <a:rPr lang="en-GB" b="1" dirty="0"/>
              <a:t>Why do foams collapse? </a:t>
            </a:r>
          </a:p>
          <a:p>
            <a:pPr marL="0" indent="0">
              <a:buNone/>
            </a:pPr>
            <a:r>
              <a:rPr lang="en-GB" dirty="0"/>
              <a:t>When whisked to form a foam egg whites increase in volume. Egg white can hold 7-8 times its own volume of air. </a:t>
            </a:r>
          </a:p>
          <a:p>
            <a:pPr marL="0" indent="0">
              <a:buNone/>
            </a:pPr>
            <a:r>
              <a:rPr lang="en-GB" dirty="0"/>
              <a:t>The egg white:</a:t>
            </a:r>
          </a:p>
          <a:p>
            <a:r>
              <a:rPr lang="en-GB" dirty="0"/>
              <a:t>traps the air when whisked to create a gas in air foam;</a:t>
            </a:r>
          </a:p>
          <a:p>
            <a:r>
              <a:rPr lang="en-GB" dirty="0"/>
              <a:t>protein stretches or unfolds and forms a film of protection around the air bubbles.</a:t>
            </a:r>
          </a:p>
          <a:p>
            <a:pPr marL="0" indent="0">
              <a:buNone/>
            </a:pPr>
            <a:endParaRPr lang="en-GB" dirty="0"/>
          </a:p>
        </p:txBody>
      </p:sp>
      <p:pic>
        <p:nvPicPr>
          <p:cNvPr id="6" name="Picture 5">
            <a:extLst>
              <a:ext uri="{FF2B5EF4-FFF2-40B4-BE49-F238E27FC236}">
                <a16:creationId xmlns:a16="http://schemas.microsoft.com/office/drawing/2014/main" id="{4350D5FA-7D50-C61A-EA2A-715B4BE680A6}"/>
              </a:ext>
            </a:extLst>
          </p:cNvPr>
          <p:cNvPicPr>
            <a:picLocks noChangeAspect="1"/>
          </p:cNvPicPr>
          <p:nvPr/>
        </p:nvPicPr>
        <p:blipFill>
          <a:blip r:embed="rId2"/>
          <a:stretch>
            <a:fillRect/>
          </a:stretch>
        </p:blipFill>
        <p:spPr>
          <a:xfrm>
            <a:off x="8475133" y="2951818"/>
            <a:ext cx="3281115" cy="2221315"/>
          </a:xfrm>
          <a:prstGeom prst="rect">
            <a:avLst/>
          </a:prstGeom>
        </p:spPr>
      </p:pic>
    </p:spTree>
    <p:extLst>
      <p:ext uri="{BB962C8B-B14F-4D97-AF65-F5344CB8AC3E}">
        <p14:creationId xmlns:p14="http://schemas.microsoft.com/office/powerpoint/2010/main" val="4243285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C64FD-913B-552F-BA84-B14CC7329F26}"/>
              </a:ext>
            </a:extLst>
          </p:cNvPr>
          <p:cNvSpPr>
            <a:spLocks noGrp="1"/>
          </p:cNvSpPr>
          <p:nvPr>
            <p:ph type="ctrTitle"/>
          </p:nvPr>
        </p:nvSpPr>
        <p:spPr/>
        <p:txBody>
          <a:bodyPr/>
          <a:lstStyle/>
          <a:p>
            <a:r>
              <a:rPr lang="en-GB"/>
              <a:t>Making and stabilising foams</a:t>
            </a:r>
          </a:p>
        </p:txBody>
      </p:sp>
      <p:sp>
        <p:nvSpPr>
          <p:cNvPr id="3" name="Subtitle 2">
            <a:extLst>
              <a:ext uri="{FF2B5EF4-FFF2-40B4-BE49-F238E27FC236}">
                <a16:creationId xmlns:a16="http://schemas.microsoft.com/office/drawing/2014/main" id="{6602F20C-0E64-8D95-473B-01C0F69999B0}"/>
              </a:ext>
            </a:extLst>
          </p:cNvPr>
          <p:cNvSpPr>
            <a:spLocks noGrp="1"/>
          </p:cNvSpPr>
          <p:nvPr>
            <p:ph type="subTitle" idx="1"/>
          </p:nvPr>
        </p:nvSpPr>
        <p:spPr>
          <a:xfrm>
            <a:off x="1169276" y="2571092"/>
            <a:ext cx="6714095" cy="3600000"/>
          </a:xfrm>
        </p:spPr>
        <p:txBody>
          <a:bodyPr/>
          <a:lstStyle/>
          <a:p>
            <a:pPr marL="0" indent="0">
              <a:buNone/>
            </a:pPr>
            <a:r>
              <a:rPr lang="en-GB" b="0" i="0" dirty="0">
                <a:effectLst/>
                <a:latin typeface="Arial" panose="020B0604020202020204" pitchFamily="34" charset="0"/>
                <a:cs typeface="Arial" panose="020B0604020202020204" pitchFamily="34" charset="0"/>
              </a:rPr>
              <a:t>The collapse of less stable foams can be caused by the following: </a:t>
            </a:r>
          </a:p>
          <a:p>
            <a:pPr marL="0" indent="0">
              <a:buNone/>
            </a:pPr>
            <a:r>
              <a:rPr lang="en-GB" b="1" i="0" dirty="0">
                <a:effectLst/>
                <a:latin typeface="Arial" panose="020B0604020202020204" pitchFamily="34" charset="0"/>
                <a:cs typeface="Arial" panose="020B0604020202020204" pitchFamily="34" charset="0"/>
              </a:rPr>
              <a:t>Coalescence</a:t>
            </a:r>
            <a:r>
              <a:rPr lang="en-GB" b="0" i="0" dirty="0">
                <a:effectLst/>
                <a:latin typeface="Arial" panose="020B0604020202020204" pitchFamily="34" charset="0"/>
                <a:cs typeface="Arial" panose="020B0604020202020204" pitchFamily="34" charset="0"/>
              </a:rPr>
              <a:t>: if left standing, foam can lose its structure by two air bubbles merging with one another. The protein film that separates the two bubbles breaks and causes the two to come together and form one bubble – they coalesce.</a:t>
            </a:r>
            <a:endParaRPr lang="en-GB" dirty="0">
              <a:latin typeface="Arial" panose="020B0604020202020204" pitchFamily="34" charset="0"/>
              <a:cs typeface="Arial" panose="020B0604020202020204" pitchFamily="34" charset="0"/>
            </a:endParaRPr>
          </a:p>
          <a:p>
            <a:pPr marL="0" indent="0">
              <a:buNone/>
            </a:pPr>
            <a:r>
              <a:rPr lang="en-GB" b="1" i="0" dirty="0">
                <a:effectLst/>
                <a:latin typeface="Arial" panose="020B0604020202020204" pitchFamily="34" charset="0"/>
                <a:cs typeface="Arial" panose="020B0604020202020204" pitchFamily="34" charset="0"/>
              </a:rPr>
              <a:t>Over whisking: </a:t>
            </a:r>
            <a:r>
              <a:rPr lang="en-GB" i="0" dirty="0">
                <a:effectLst/>
                <a:latin typeface="Arial" panose="020B0604020202020204" pitchFamily="34" charset="0"/>
                <a:cs typeface="Arial" panose="020B0604020202020204" pitchFamily="34" charset="0"/>
              </a:rPr>
              <a:t>if over whisked, egg white foam will start to collapse. This is caused by the denaturation* of the protein which causes loss of elasticity. The foam loses volume and becomes dry, dull and </a:t>
            </a:r>
            <a:r>
              <a:rPr lang="en-GB" dirty="0">
                <a:latin typeface="Arial" panose="020B0604020202020204" pitchFamily="34" charset="0"/>
                <a:cs typeface="Arial" panose="020B0604020202020204" pitchFamily="34" charset="0"/>
              </a:rPr>
              <a:t>un</a:t>
            </a:r>
            <a:r>
              <a:rPr lang="en-GB" i="0" dirty="0">
                <a:effectLst/>
                <a:latin typeface="Arial" panose="020B0604020202020204" pitchFamily="34" charset="0"/>
                <a:cs typeface="Arial" panose="020B0604020202020204" pitchFamily="34" charset="0"/>
              </a:rPr>
              <a:t>stable. </a:t>
            </a:r>
          </a:p>
          <a:p>
            <a:pPr marL="0" indent="0">
              <a:buNone/>
            </a:pPr>
            <a:endParaRPr lang="en-GB" dirty="0">
              <a:solidFill>
                <a:srgbClr val="333333"/>
              </a:solidFill>
              <a:latin typeface="Arial" panose="020B0604020202020204" pitchFamily="34" charset="0"/>
              <a:cs typeface="Arial" panose="020B0604020202020204" pitchFamily="34" charset="0"/>
            </a:endParaRPr>
          </a:p>
          <a:p>
            <a:pPr marL="0" indent="0">
              <a:buNone/>
            </a:pPr>
            <a:r>
              <a:rPr lang="en-GB" b="0" i="0" dirty="0">
                <a:solidFill>
                  <a:srgbClr val="333333"/>
                </a:solidFill>
                <a:effectLst/>
                <a:latin typeface="Arial" panose="020B0604020202020204" pitchFamily="34" charset="0"/>
                <a:cs typeface="Arial" panose="020B0604020202020204" pitchFamily="34" charset="0"/>
              </a:rPr>
              <a:t> *</a:t>
            </a:r>
            <a:endParaRPr lang="en-GB" dirty="0">
              <a:latin typeface="Arial" panose="020B0604020202020204" pitchFamily="34" charset="0"/>
              <a:cs typeface="Arial" panose="020B0604020202020204" pitchFamily="34" charset="0"/>
            </a:endParaRPr>
          </a:p>
        </p:txBody>
      </p:sp>
      <p:pic>
        <p:nvPicPr>
          <p:cNvPr id="6" name="Picture 5" descr="A picture containing cup, indoor, food, cream&#10;&#10;Description automatically generated">
            <a:extLst>
              <a:ext uri="{FF2B5EF4-FFF2-40B4-BE49-F238E27FC236}">
                <a16:creationId xmlns:a16="http://schemas.microsoft.com/office/drawing/2014/main" id="{863CC1F9-C241-AA44-82F1-32C62DCF2ADE}"/>
              </a:ext>
            </a:extLst>
          </p:cNvPr>
          <p:cNvPicPr>
            <a:picLocks noChangeAspect="1"/>
          </p:cNvPicPr>
          <p:nvPr/>
        </p:nvPicPr>
        <p:blipFill>
          <a:blip r:embed="rId2"/>
          <a:stretch>
            <a:fillRect/>
          </a:stretch>
        </p:blipFill>
        <p:spPr>
          <a:xfrm>
            <a:off x="8296470" y="2802792"/>
            <a:ext cx="3502960" cy="2336474"/>
          </a:xfrm>
          <a:prstGeom prst="rect">
            <a:avLst/>
          </a:prstGeom>
        </p:spPr>
      </p:pic>
    </p:spTree>
    <p:extLst>
      <p:ext uri="{BB962C8B-B14F-4D97-AF65-F5344CB8AC3E}">
        <p14:creationId xmlns:p14="http://schemas.microsoft.com/office/powerpoint/2010/main" val="784807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30FDC-7BFA-C9A7-6E6F-122DBDEB6439}"/>
              </a:ext>
            </a:extLst>
          </p:cNvPr>
          <p:cNvSpPr>
            <a:spLocks noGrp="1"/>
          </p:cNvSpPr>
          <p:nvPr>
            <p:ph type="ctrTitle"/>
          </p:nvPr>
        </p:nvSpPr>
        <p:spPr/>
        <p:txBody>
          <a:bodyPr/>
          <a:lstStyle/>
          <a:p>
            <a:r>
              <a:rPr lang="en-GB"/>
              <a:t>Making and stabilising foams</a:t>
            </a:r>
          </a:p>
        </p:txBody>
      </p:sp>
      <p:sp>
        <p:nvSpPr>
          <p:cNvPr id="3" name="Subtitle 2">
            <a:extLst>
              <a:ext uri="{FF2B5EF4-FFF2-40B4-BE49-F238E27FC236}">
                <a16:creationId xmlns:a16="http://schemas.microsoft.com/office/drawing/2014/main" id="{872F444F-7B3C-AF72-BFEB-B0FA36FEBB9D}"/>
              </a:ext>
            </a:extLst>
          </p:cNvPr>
          <p:cNvSpPr>
            <a:spLocks noGrp="1"/>
          </p:cNvSpPr>
          <p:nvPr>
            <p:ph type="subTitle" idx="1"/>
          </p:nvPr>
        </p:nvSpPr>
        <p:spPr>
          <a:xfrm>
            <a:off x="1169276" y="2571092"/>
            <a:ext cx="6509908" cy="3600000"/>
          </a:xfrm>
        </p:spPr>
        <p:txBody>
          <a:bodyPr/>
          <a:lstStyle/>
          <a:p>
            <a:pPr marL="0" indent="0">
              <a:buNone/>
            </a:pPr>
            <a:r>
              <a:rPr lang="en-GB" b="1" i="0">
                <a:effectLst/>
                <a:latin typeface="Arial" panose="020B0604020202020204" pitchFamily="34" charset="0"/>
                <a:cs typeface="Arial" panose="020B0604020202020204" pitchFamily="34" charset="0"/>
              </a:rPr>
              <a:t>Traces of fat in mixture: </a:t>
            </a:r>
            <a:r>
              <a:rPr lang="en-GB" i="0">
                <a:effectLst/>
                <a:latin typeface="Arial" panose="020B0604020202020204" pitchFamily="34" charset="0"/>
                <a:cs typeface="Arial" panose="020B0604020202020204" pitchFamily="34" charset="0"/>
              </a:rPr>
              <a:t>fat molecules (often from traces of egg yolk) </a:t>
            </a:r>
            <a:r>
              <a:rPr lang="en-GB" b="0" i="0">
                <a:effectLst/>
                <a:latin typeface="Helvetica Neue"/>
              </a:rPr>
              <a:t>have both hydrophobic and hydrophilic parts and will compete with proteins in the foam. </a:t>
            </a:r>
          </a:p>
          <a:p>
            <a:pPr marL="0" indent="0">
              <a:buNone/>
            </a:pPr>
            <a:r>
              <a:rPr lang="en-GB" b="0" i="0">
                <a:effectLst/>
                <a:latin typeface="Helvetica Neue"/>
              </a:rPr>
              <a:t>Unlike proteins, fats don't bond to each other side to side to form cross links. Instead, they compete with protein molecules in forming bonds and prevent the protein from denaturing.</a:t>
            </a:r>
          </a:p>
          <a:p>
            <a:pPr marL="0" indent="0">
              <a:buNone/>
            </a:pPr>
            <a:r>
              <a:rPr lang="en-GB" b="0" i="0">
                <a:effectLst/>
                <a:latin typeface="Helvetica Neue"/>
              </a:rPr>
              <a:t>So, the addition of any fat (e.g. egg yolks) will interfere with the formation of egg white foam.</a:t>
            </a:r>
          </a:p>
          <a:p>
            <a:pPr marL="0" indent="0">
              <a:buNone/>
            </a:pPr>
            <a:r>
              <a:rPr lang="en-GB">
                <a:latin typeface="Helvetica Neue"/>
                <a:cs typeface="Arial" panose="020B0604020202020204" pitchFamily="34" charset="0"/>
              </a:rPr>
              <a:t>It is important to have clean, grease free tools and equipment when making an egg white foam. </a:t>
            </a:r>
            <a:endParaRPr lang="en-GB" b="1" i="0">
              <a:effectLst/>
              <a:latin typeface="Arial" panose="020B0604020202020204" pitchFamily="34" charset="0"/>
              <a:cs typeface="Arial" panose="020B0604020202020204" pitchFamily="34" charset="0"/>
            </a:endParaRPr>
          </a:p>
          <a:p>
            <a:pPr marL="0" indent="0">
              <a:buNone/>
            </a:pPr>
            <a:endParaRPr lang="en-GB"/>
          </a:p>
        </p:txBody>
      </p:sp>
      <p:pic>
        <p:nvPicPr>
          <p:cNvPr id="6" name="Picture 5" descr="A person pouring liquid into a glass&#10;&#10;Description automatically generated with medium confidence">
            <a:extLst>
              <a:ext uri="{FF2B5EF4-FFF2-40B4-BE49-F238E27FC236}">
                <a16:creationId xmlns:a16="http://schemas.microsoft.com/office/drawing/2014/main" id="{149111A2-DD3E-1D35-19FB-6B0AB8E82290}"/>
              </a:ext>
            </a:extLst>
          </p:cNvPr>
          <p:cNvPicPr>
            <a:picLocks noChangeAspect="1"/>
          </p:cNvPicPr>
          <p:nvPr/>
        </p:nvPicPr>
        <p:blipFill>
          <a:blip r:embed="rId2"/>
          <a:stretch>
            <a:fillRect/>
          </a:stretch>
        </p:blipFill>
        <p:spPr>
          <a:xfrm>
            <a:off x="8017070" y="2917601"/>
            <a:ext cx="3888414" cy="2204731"/>
          </a:xfrm>
          <a:prstGeom prst="rect">
            <a:avLst/>
          </a:prstGeom>
        </p:spPr>
      </p:pic>
    </p:spTree>
    <p:extLst>
      <p:ext uri="{BB962C8B-B14F-4D97-AF65-F5344CB8AC3E}">
        <p14:creationId xmlns:p14="http://schemas.microsoft.com/office/powerpoint/2010/main" val="1265359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B78CA333243439763E4169A5FEB7F" ma:contentTypeVersion="17" ma:contentTypeDescription="Create a new document." ma:contentTypeScope="" ma:versionID="f2c597ebce0aa0fd5759700e14dd3adc">
  <xsd:schema xmlns:xsd="http://www.w3.org/2001/XMLSchema" xmlns:xs="http://www.w3.org/2001/XMLSchema" xmlns:p="http://schemas.microsoft.com/office/2006/metadata/properties" xmlns:ns2="c53071f4-7f44-43fd-895c-8e7b6a3746b0" xmlns:ns3="ead97cfe-a968-427f-b02b-893e6ba0355a" targetNamespace="http://schemas.microsoft.com/office/2006/metadata/properties" ma:root="true" ma:fieldsID="27039d98634059a90188b6cb8bc5e987" ns2:_="" ns3:_="">
    <xsd:import namespace="c53071f4-7f44-43fd-895c-8e7b6a3746b0"/>
    <xsd:import namespace="ead97cfe-a968-427f-b02b-893e6ba035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_Flow_Signoff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3071f4-7f44-43fd-895c-8e7b6a374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Flow_SignoffStatus" ma:index="21" nillable="true" ma:displayName="Sign-off status" ma:internalName="Sign_x002d_off_x0020_status">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407c16c-d400-4155-af4b-d0582c07d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d97cfe-a968-427f-b02b-893e6ba0355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b8b45f8-435e-402c-b129-c8853cba6318}" ma:internalName="TaxCatchAll" ma:showField="CatchAllData" ma:web="ead97cfe-a968-427f-b02b-893e6ba035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53071f4-7f44-43fd-895c-8e7b6a3746b0" xsi:nil="true"/>
    <_Flow_SignoffStatus xmlns="c53071f4-7f44-43fd-895c-8e7b6a3746b0" xsi:nil="true"/>
    <SharedWithUsers xmlns="ead97cfe-a968-427f-b02b-893e6ba0355a">
      <UserInfo>
        <DisplayName/>
        <AccountId xsi:nil="true"/>
        <AccountType/>
      </UserInfo>
    </SharedWithUsers>
    <TaxCatchAll xmlns="ead97cfe-a968-427f-b02b-893e6ba0355a" xsi:nil="true"/>
    <lcf76f155ced4ddcb4097134ff3c332f xmlns="c53071f4-7f44-43fd-895c-8e7b6a3746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29AB40-F358-4B1A-986D-FEFBCB7C788B}">
  <ds:schemaRefs>
    <ds:schemaRef ds:uri="c53071f4-7f44-43fd-895c-8e7b6a3746b0"/>
    <ds:schemaRef ds:uri="ead97cfe-a968-427f-b02b-893e6ba035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A84615-6D8B-4A8F-B9A5-3805127A3ACB}">
  <ds:schemaRefs>
    <ds:schemaRef ds:uri="c53071f4-7f44-43fd-895c-8e7b6a3746b0"/>
    <ds:schemaRef ds:uri="ead97cfe-a968-427f-b02b-893e6ba035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39F3FD5-8BE4-4C63-8E08-C5A7A17FEE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603</Words>
  <Application>Microsoft Office PowerPoint</Application>
  <PresentationFormat>Widescreen</PresentationFormat>
  <Paragraphs>377</Paragraphs>
  <Slides>30</Slides>
  <Notes>1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0" baseType="lpstr">
      <vt:lpstr>Arial</vt:lpstr>
      <vt:lpstr>Calibri</vt:lpstr>
      <vt:lpstr>GuardianTextEgyptian</vt:lpstr>
      <vt:lpstr>Helvetica Neue</vt:lpstr>
      <vt:lpstr>Times New Roman</vt:lpstr>
      <vt:lpstr>Office Theme</vt:lpstr>
      <vt:lpstr>Custom Design</vt:lpstr>
      <vt:lpstr>1_Custom Design</vt:lpstr>
      <vt:lpstr>3_Custom Design</vt:lpstr>
      <vt:lpstr>think-cell Slide</vt:lpstr>
      <vt:lpstr>Foams</vt:lpstr>
      <vt:lpstr>Introduction</vt:lpstr>
      <vt:lpstr>The science of colloids</vt:lpstr>
      <vt:lpstr>Main types of colloidal systems</vt:lpstr>
      <vt:lpstr>Foams – what are they?</vt:lpstr>
      <vt:lpstr>The science of foams</vt:lpstr>
      <vt:lpstr>Making and stabilising foams</vt:lpstr>
      <vt:lpstr>Making and stabilising foams</vt:lpstr>
      <vt:lpstr>Making and stabilising foams</vt:lpstr>
      <vt:lpstr>Questions</vt:lpstr>
      <vt:lpstr>Question 1</vt:lpstr>
      <vt:lpstr>Question 2</vt:lpstr>
      <vt:lpstr>Questions</vt:lpstr>
      <vt:lpstr>Applying the science </vt:lpstr>
      <vt:lpstr>Applying the science</vt:lpstr>
      <vt:lpstr>Key words </vt:lpstr>
      <vt:lpstr>Key words </vt:lpstr>
      <vt:lpstr>Teachers’ guide</vt:lpstr>
      <vt:lpstr>Teaching about foams: </vt:lpstr>
      <vt:lpstr>Foams – what are they?</vt:lpstr>
      <vt:lpstr>Foams – what are they?</vt:lpstr>
      <vt:lpstr>Applying the science </vt:lpstr>
      <vt:lpstr>Questions</vt:lpstr>
      <vt:lpstr>Question 1</vt:lpstr>
      <vt:lpstr>Question 2</vt:lpstr>
      <vt:lpstr>Questions</vt:lpstr>
      <vt:lpstr>Foams – investigating functional properties</vt:lpstr>
      <vt:lpstr>Colloidal systems and foams- activities</vt:lpstr>
      <vt:lpstr>Further supporting resources</vt:lpstr>
      <vt:lpstr>Foa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social!</dc:title>
  <dc:creator>Glenn Carter</dc:creator>
  <cp:lastModifiedBy>Ewen Trafford</cp:lastModifiedBy>
  <cp:revision>1</cp:revision>
  <dcterms:created xsi:type="dcterms:W3CDTF">2018-10-10T09:22:08Z</dcterms:created>
  <dcterms:modified xsi:type="dcterms:W3CDTF">2022-12-07T14: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B78CA333243439763E4169A5FEB7F</vt:lpwstr>
  </property>
  <property fmtid="{D5CDD505-2E9C-101B-9397-08002B2CF9AE}" pid="3" name="Order">
    <vt:r8>551200</vt:r8>
  </property>
  <property fmtid="{D5CDD505-2E9C-101B-9397-08002B2CF9AE}" pid="4" name="_ExtendedDescription">
    <vt:lpwstr/>
  </property>
  <property fmtid="{D5CDD505-2E9C-101B-9397-08002B2CF9AE}" pid="5" name="ComplianceAssetId">
    <vt:lpwstr/>
  </property>
  <property fmtid="{D5CDD505-2E9C-101B-9397-08002B2CF9AE}" pid="6" name="TriggerFlowInfo">
    <vt:lpwstr/>
  </property>
  <property fmtid="{D5CDD505-2E9C-101B-9397-08002B2CF9AE}" pid="7" name="MediaServiceImageTags">
    <vt:lpwstr/>
  </property>
</Properties>
</file>